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71" r:id="rId2"/>
    <p:sldId id="470" r:id="rId3"/>
    <p:sldId id="472" r:id="rId4"/>
    <p:sldId id="475" r:id="rId5"/>
    <p:sldId id="474" r:id="rId6"/>
  </p:sldIdLst>
  <p:sldSz cx="12192000" cy="6858000"/>
  <p:notesSz cx="6858000" cy="9144000"/>
  <p:embeddedFontLst>
    <p:embeddedFont>
      <p:font typeface="KPMG Bold" panose="020B0803030202040204" pitchFamily="34" charset="0"/>
      <p:bold r:id="rId9"/>
      <p:boldItalic r:id="rId10"/>
    </p:embeddedFont>
  </p:embeddedFontLst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hite, Catherine" initials="WC" lastIdx="18" clrIdx="0">
    <p:extLst>
      <p:ext uri="{19B8F6BF-5375-455C-9EA6-DF929625EA0E}">
        <p15:presenceInfo xmlns:p15="http://schemas.microsoft.com/office/powerpoint/2012/main" userId="S::cjwhite@kpmg.ca::0dea3d63-dcad-4748-a310-11ef28cac8a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EAFF"/>
    <a:srgbClr val="63EBDA"/>
    <a:srgbClr val="E5E5E5"/>
    <a:srgbClr val="B2B2B2"/>
    <a:srgbClr val="989898"/>
    <a:srgbClr val="666666"/>
    <a:srgbClr val="333333"/>
    <a:srgbClr val="FFFFFF"/>
    <a:srgbClr val="00C0AE"/>
    <a:srgbClr val="098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72" autoAdjust="0"/>
  </p:normalViewPr>
  <p:slideViewPr>
    <p:cSldViewPr snapToGrid="0" showGuides="1">
      <p:cViewPr varScale="1">
        <p:scale>
          <a:sx n="67" d="100"/>
          <a:sy n="67" d="100"/>
        </p:scale>
        <p:origin x="64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7" d="100"/>
        <a:sy n="97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24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C54D5F6-3183-428A-85C8-51C26DD4B5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608F93-CC89-4063-A187-7B1597877F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BA84C-EC3E-4598-9C4D-8CE1D2A956F5}" type="datetimeFigureOut">
              <a:rPr lang="en-GB" smtClean="0">
                <a:latin typeface="Arial" panose="020B0604020202020204" pitchFamily="34" charset="0"/>
              </a:rPr>
              <a:t>12/01/2024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24D309-D941-4AA7-AD70-D334F1D592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99044-B362-4E47-A054-164531AC8F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C0F9D0-9E03-483D-AC3B-FCB5CBA393CA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302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C57A4BF-14E0-48E2-B42F-B29D277000AB}" type="datetimeFigureOut">
              <a:rPr lang="en-GB" smtClean="0"/>
              <a:pPr/>
              <a:t>12/01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B5D948F-A673-4DC7-A0E9-FA274EAF36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1308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2180"/>
            <a:ext cx="12190341" cy="68558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19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09676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301" y="1456388"/>
            <a:ext cx="3432043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1301" y="5007010"/>
            <a:ext cx="3432043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6BE9D60-8E37-4DED-A951-A9C36EAA76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175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506648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5007009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686141" y="736722"/>
            <a:ext cx="3764557" cy="539125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208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057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4" y="1330126"/>
            <a:ext cx="10204704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43585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5982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39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45537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8224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87456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372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584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0"/>
            <a:ext cx="1219034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0232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8539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6615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8272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336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019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598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32584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0888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18576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76264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33951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99126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38659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3341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8639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>
                <a:solidFill>
                  <a:schemeClr val="tx2"/>
                </a:solidFill>
              </a:defRPr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A7138E-6EE9-4E16-AB30-D7C7DA3DCE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8538" y="1630363"/>
            <a:ext cx="1906587" cy="563562"/>
          </a:xfrm>
          <a:solidFill>
            <a:srgbClr val="1E49E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E652417-F61A-4ABE-AAED-E30436B90B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73464" y="1630363"/>
            <a:ext cx="1906587" cy="563562"/>
          </a:xfrm>
          <a:solidFill>
            <a:schemeClr val="tx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218554-B99A-45E3-9AE4-434D8CA5AD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40699" y="1630363"/>
            <a:ext cx="1906587" cy="563562"/>
          </a:xfrm>
          <a:solidFill>
            <a:schemeClr val="accent4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FCA38BE-76B7-4635-8179-9D7DD99CD9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7934" y="1630363"/>
            <a:ext cx="1906587" cy="563562"/>
          </a:xfrm>
          <a:solidFill>
            <a:schemeClr val="accent3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2020005-E0B8-4233-8022-8AC559F11D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798" y="1630363"/>
            <a:ext cx="1906587" cy="563562"/>
          </a:xfrm>
          <a:solidFill>
            <a:schemeClr val="accent1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12639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58581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5353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6956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6639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69760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Cover dark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36415CC-18EE-44C6-AA6A-0C70BEB38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301" y="4240696"/>
            <a:ext cx="5748399" cy="1854200"/>
          </a:xfrm>
        </p:spPr>
        <p:txBody>
          <a:bodyPr anchor="b"/>
          <a:lstStyle>
            <a:lvl1pPr>
              <a:spcAft>
                <a:spcPts val="1000"/>
              </a:spcAft>
              <a:defRPr lang="en-US" sz="900" b="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000"/>
              </a:spcAft>
              <a:defRPr sz="900" b="0">
                <a:solidFill>
                  <a:schemeClr val="tx1"/>
                </a:solidFill>
              </a:defRPr>
            </a:lvl2pPr>
          </a:lstStyle>
          <a:p>
            <a:pPr marL="0" lvl="0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1A20F0E-1C86-4DC6-957F-6F65AC8C2E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301" y="3935061"/>
            <a:ext cx="3215651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4182B8-7E62-44CE-AE54-C464674E18B6}"/>
              </a:ext>
            </a:extLst>
          </p:cNvPr>
          <p:cNvGrpSpPr/>
          <p:nvPr userDrawn="1"/>
        </p:nvGrpSpPr>
        <p:grpSpPr>
          <a:xfrm>
            <a:off x="750811" y="3494012"/>
            <a:ext cx="2035175" cy="373163"/>
            <a:chOff x="1584001" y="2682350"/>
            <a:chExt cx="2094546" cy="38404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DDC481-4310-4B64-9A5D-208CF9409F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4335"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6404136-6381-48A3-932A-AC26BF0178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824263-AD0D-4152-BFED-1CCF21CB8F58}"/>
                </a:ext>
              </a:extLst>
            </p:cNvPr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F49B6BE1-732C-47F7-8AC3-AD41EB4E31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C076922-9A80-4B8C-AAD2-A8450426352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Oval 7">
                <a:extLst>
                  <a:ext uri="{FF2B5EF4-FFF2-40B4-BE49-F238E27FC236}">
                    <a16:creationId xmlns:a16="http://schemas.microsoft.com/office/drawing/2014/main" id="{C440F010-AD08-48DE-A162-07A7BB051D2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BB7DCF77-C63C-4BBE-88C9-6A8B122B82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3361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 dirty="0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 dirty="0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 dirty="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 dirty="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 dirty="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 dirty="0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 dirty="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 dirty="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 dirty="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Purple/</a:t>
            </a:r>
            <a:br>
              <a:rPr lang="en-GB" sz="1000" dirty="0"/>
            </a:br>
            <a:r>
              <a:rPr lang="en-GB" sz="1000" dirty="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Pacific/</a:t>
            </a:r>
            <a:br>
              <a:rPr lang="en-GB" sz="1000" dirty="0"/>
            </a:br>
            <a:r>
              <a:rPr lang="en-GB" sz="1000" dirty="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 dirty="0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 dirty="0">
                <a:solidFill>
                  <a:sysClr val="windowText" lastClr="000000"/>
                </a:solidFill>
              </a:rPr>
              <a:t>The </a:t>
            </a:r>
            <a:r>
              <a:rPr lang="en-US" sz="1000" b="0" noProof="0" dirty="0">
                <a:solidFill>
                  <a:sysClr val="windowText" lastClr="000000"/>
                </a:solidFill>
              </a:rPr>
              <a:t>colors</a:t>
            </a:r>
            <a:r>
              <a:rPr lang="en-GB" sz="1000" b="0" dirty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 dirty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 dirty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 dirty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 dirty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 dirty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 dirty="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 dirty="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 dirty="0">
                <a:solidFill>
                  <a:sysClr val="windowText" lastClr="000000"/>
                </a:solidFill>
              </a:rPr>
              <a:t>Traffic Light palette</a:t>
            </a:r>
            <a:endParaRPr lang="en-US" sz="1000" b="0" dirty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 dirty="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 dirty="0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 dirty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 dirty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 dirty="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 dirty="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 dirty="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 dirty="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 dirty="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69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6350010" cy="4445007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17666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E81D1E-EC03-4E35-9F55-9751C67CE0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17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3099633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017666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8ADB91F-075F-40EA-BBF8-09E1B53E1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359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656602" y="736722"/>
            <a:ext cx="7794097" cy="545586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923066" y="5075895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2009" y="1002219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slide text onl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647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686675" y="736722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dirty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53138" y="5075895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53138" y="1002219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ECC0639-96E3-412C-BC90-5540FE2B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939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C82C8FF-4554-4D33-9E91-3BB7D4A85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2337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62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732868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text only</a:t>
            </a:r>
            <a:endParaRPr lang="en-US" dirty="0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0418D56-2AD4-4649-A855-7B7DABEE4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9910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7445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 dirty="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4" y="6266997"/>
            <a:ext cx="4667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USCS009916-1A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9AC77B96-D96C-4FA2-858B-DEE0A3A7B7B6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03" r:id="rId4"/>
    <p:sldLayoutId id="2147483783" r:id="rId5"/>
    <p:sldLayoutId id="2147483749" r:id="rId6"/>
    <p:sldLayoutId id="2147483750" r:id="rId7"/>
    <p:sldLayoutId id="2147483767" r:id="rId8"/>
    <p:sldLayoutId id="2147483768" r:id="rId9"/>
    <p:sldLayoutId id="2147483765" r:id="rId10"/>
    <p:sldLayoutId id="2147483766" r:id="rId11"/>
    <p:sldLayoutId id="2147483666" r:id="rId12"/>
    <p:sldLayoutId id="2147483712" r:id="rId13"/>
    <p:sldLayoutId id="2147483664" r:id="rId14"/>
    <p:sldLayoutId id="2147483769" r:id="rId15"/>
    <p:sldLayoutId id="2147483770" r:id="rId16"/>
    <p:sldLayoutId id="2147483714" r:id="rId17"/>
    <p:sldLayoutId id="2147483689" r:id="rId18"/>
    <p:sldLayoutId id="2147483716" r:id="rId19"/>
    <p:sldLayoutId id="2147483690" r:id="rId20"/>
    <p:sldLayoutId id="2147483692" r:id="rId21"/>
    <p:sldLayoutId id="2147483691" r:id="rId22"/>
    <p:sldLayoutId id="2147483693" r:id="rId23"/>
    <p:sldLayoutId id="2147483790" r:id="rId24"/>
    <p:sldLayoutId id="2147483701" r:id="rId25"/>
    <p:sldLayoutId id="2147483771" r:id="rId26"/>
    <p:sldLayoutId id="2147483752" r:id="rId27"/>
    <p:sldLayoutId id="2147483697" r:id="rId28"/>
    <p:sldLayoutId id="2147483772" r:id="rId29"/>
    <p:sldLayoutId id="2147483787" r:id="rId30"/>
    <p:sldLayoutId id="2147483754" r:id="rId31"/>
    <p:sldLayoutId id="2147483699" r:id="rId32"/>
    <p:sldLayoutId id="2147483700" r:id="rId33"/>
    <p:sldLayoutId id="2147483682" r:id="rId34"/>
    <p:sldLayoutId id="2147483745" r:id="rId35"/>
    <p:sldLayoutId id="2147483746" r:id="rId36"/>
    <p:sldLayoutId id="2147483784" r:id="rId37"/>
    <p:sldLayoutId id="2147483773" r:id="rId38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 userDrawn="1">
          <p15:clr>
            <a:srgbClr val="F26B43"/>
          </p15:clr>
        </p15:guide>
        <p15:guide id="2" pos="627" userDrawn="1">
          <p15:clr>
            <a:srgbClr val="F26B43"/>
          </p15:clr>
        </p15:guide>
        <p15:guide id="3" pos="7055" userDrawn="1">
          <p15:clr>
            <a:srgbClr val="F26B43"/>
          </p15:clr>
        </p15:guide>
        <p15:guide id="4" orient="horz" pos="838" userDrawn="1">
          <p15:clr>
            <a:srgbClr val="F26B43"/>
          </p15:clr>
        </p15:guide>
        <p15:guide id="5" orient="horz" pos="612" userDrawn="1">
          <p15:clr>
            <a:srgbClr val="F26B43"/>
          </p15:clr>
        </p15:guide>
        <p15:guide id="6" orient="horz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72AFB2-394B-F0FE-1818-0F16CF381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ingle sign-on with KCD work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40CE18-E13A-1A6F-D577-00E3D081FEE2}"/>
              </a:ext>
            </a:extLst>
          </p:cNvPr>
          <p:cNvSpPr/>
          <p:nvPr/>
        </p:nvSpPr>
        <p:spPr>
          <a:xfrm>
            <a:off x="8027072" y="2332915"/>
            <a:ext cx="340349" cy="245631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3260FA49-5398-F311-90A3-2B743EB46CCB}"/>
              </a:ext>
            </a:extLst>
          </p:cNvPr>
          <p:cNvSpPr/>
          <p:nvPr/>
        </p:nvSpPr>
        <p:spPr>
          <a:xfrm>
            <a:off x="2503820" y="2402268"/>
            <a:ext cx="5087956" cy="2336071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8685A7D-0EC1-E171-3ED3-E99BBCAB1AFF}"/>
              </a:ext>
            </a:extLst>
          </p:cNvPr>
          <p:cNvSpPr/>
          <p:nvPr/>
        </p:nvSpPr>
        <p:spPr>
          <a:xfrm>
            <a:off x="1808543" y="2332915"/>
            <a:ext cx="8371695" cy="1096016"/>
          </a:xfrm>
          <a:custGeom>
            <a:avLst/>
            <a:gdLst>
              <a:gd name="connsiteX0" fmla="*/ 0 w 8206740"/>
              <a:gd name="connsiteY0" fmla="*/ 1074420 h 1074420"/>
              <a:gd name="connsiteX1" fmla="*/ 1219200 w 8206740"/>
              <a:gd name="connsiteY1" fmla="*/ 624840 h 1074420"/>
              <a:gd name="connsiteX2" fmla="*/ 7155180 w 8206740"/>
              <a:gd name="connsiteY2" fmla="*/ 624840 h 1074420"/>
              <a:gd name="connsiteX3" fmla="*/ 8206740 w 8206740"/>
              <a:gd name="connsiteY3" fmla="*/ 0 h 107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6740" h="1074420">
                <a:moveTo>
                  <a:pt x="0" y="1074420"/>
                </a:moveTo>
                <a:lnTo>
                  <a:pt x="1219200" y="624840"/>
                </a:lnTo>
                <a:lnTo>
                  <a:pt x="7155180" y="624840"/>
                </a:lnTo>
                <a:lnTo>
                  <a:pt x="8206740" y="0"/>
                </a:lnTo>
              </a:path>
            </a:pathLst>
          </a:custGeom>
          <a:noFill/>
          <a:ln w="6350">
            <a:solidFill>
              <a:schemeClr val="accent1"/>
            </a:solidFill>
            <a:headEnd type="arrow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FD6D91A-D110-705F-0341-590DA0A10597}"/>
              </a:ext>
            </a:extLst>
          </p:cNvPr>
          <p:cNvSpPr/>
          <p:nvPr/>
        </p:nvSpPr>
        <p:spPr>
          <a:xfrm>
            <a:off x="1932913" y="3506663"/>
            <a:ext cx="1982156" cy="264287"/>
          </a:xfrm>
          <a:custGeom>
            <a:avLst/>
            <a:gdLst>
              <a:gd name="connsiteX0" fmla="*/ 0 w 1943100"/>
              <a:gd name="connsiteY0" fmla="*/ 259080 h 259080"/>
              <a:gd name="connsiteX1" fmla="*/ 937260 w 1943100"/>
              <a:gd name="connsiteY1" fmla="*/ 0 h 259080"/>
              <a:gd name="connsiteX2" fmla="*/ 1943100 w 1943100"/>
              <a:gd name="connsiteY2" fmla="*/ 0 h 25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43100" h="259080">
                <a:moveTo>
                  <a:pt x="0" y="259080"/>
                </a:moveTo>
                <a:lnTo>
                  <a:pt x="937260" y="0"/>
                </a:lnTo>
                <a:lnTo>
                  <a:pt x="1943100" y="0"/>
                </a:lnTo>
              </a:path>
            </a:pathLst>
          </a:custGeom>
          <a:noFill/>
          <a:ln w="6350">
            <a:solidFill>
              <a:schemeClr val="accent3"/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3A9101F-AEB5-28DE-FEB9-91BB9334A74F}"/>
              </a:ext>
            </a:extLst>
          </p:cNvPr>
          <p:cNvSpPr/>
          <p:nvPr/>
        </p:nvSpPr>
        <p:spPr>
          <a:xfrm>
            <a:off x="1956233" y="3724311"/>
            <a:ext cx="1989929" cy="194329"/>
          </a:xfrm>
          <a:custGeom>
            <a:avLst/>
            <a:gdLst>
              <a:gd name="connsiteX0" fmla="*/ 0 w 1950720"/>
              <a:gd name="connsiteY0" fmla="*/ 190500 h 190500"/>
              <a:gd name="connsiteX1" fmla="*/ 1600200 w 1950720"/>
              <a:gd name="connsiteY1" fmla="*/ 190500 h 190500"/>
              <a:gd name="connsiteX2" fmla="*/ 1950720 w 1950720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50720" h="190500">
                <a:moveTo>
                  <a:pt x="0" y="190500"/>
                </a:moveTo>
                <a:lnTo>
                  <a:pt x="1600200" y="190500"/>
                </a:lnTo>
                <a:lnTo>
                  <a:pt x="1950720" y="0"/>
                </a:lnTo>
              </a:path>
            </a:pathLst>
          </a:custGeom>
          <a:noFill/>
          <a:ln w="6350">
            <a:solidFill>
              <a:schemeClr val="accent3"/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27E3D-26C1-6575-FBF2-571DCC32CC6F}"/>
              </a:ext>
            </a:extLst>
          </p:cNvPr>
          <p:cNvSpPr/>
          <p:nvPr/>
        </p:nvSpPr>
        <p:spPr>
          <a:xfrm>
            <a:off x="1987326" y="3817589"/>
            <a:ext cx="2098754" cy="248741"/>
          </a:xfrm>
          <a:custGeom>
            <a:avLst/>
            <a:gdLst>
              <a:gd name="connsiteX0" fmla="*/ 0 w 2057400"/>
              <a:gd name="connsiteY0" fmla="*/ 243840 h 243840"/>
              <a:gd name="connsiteX1" fmla="*/ 1706880 w 2057400"/>
              <a:gd name="connsiteY1" fmla="*/ 243840 h 243840"/>
              <a:gd name="connsiteX2" fmla="*/ 2057400 w 2057400"/>
              <a:gd name="connsiteY2" fmla="*/ 0 h 24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57400" h="243840">
                <a:moveTo>
                  <a:pt x="0" y="243840"/>
                </a:moveTo>
                <a:lnTo>
                  <a:pt x="1706880" y="243840"/>
                </a:lnTo>
                <a:lnTo>
                  <a:pt x="2057400" y="0"/>
                </a:lnTo>
              </a:path>
            </a:pathLst>
          </a:custGeom>
          <a:noFill/>
          <a:ln w="6350">
            <a:solidFill>
              <a:schemeClr val="accent5"/>
            </a:solidFill>
            <a:headEnd type="arrow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999359A-090F-CA68-CBD8-54C75E4CE98D}"/>
              </a:ext>
            </a:extLst>
          </p:cNvPr>
          <p:cNvSpPr/>
          <p:nvPr/>
        </p:nvSpPr>
        <p:spPr>
          <a:xfrm>
            <a:off x="1995099" y="4237340"/>
            <a:ext cx="2052115" cy="0"/>
          </a:xfrm>
          <a:custGeom>
            <a:avLst/>
            <a:gdLst>
              <a:gd name="connsiteX0" fmla="*/ 0 w 2011680"/>
              <a:gd name="connsiteY0" fmla="*/ 0 h 0"/>
              <a:gd name="connsiteX1" fmla="*/ 2011680 w 20116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11680">
                <a:moveTo>
                  <a:pt x="0" y="0"/>
                </a:moveTo>
                <a:lnTo>
                  <a:pt x="2011680" y="0"/>
                </a:lnTo>
              </a:path>
            </a:pathLst>
          </a:custGeom>
          <a:noFill/>
          <a:ln w="6350">
            <a:solidFill>
              <a:schemeClr val="accent5"/>
            </a:solidFill>
            <a:headEnd type="arrow" w="lg" len="lg"/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91CCAA2-91BE-FE83-F235-A3E38CA51221}"/>
              </a:ext>
            </a:extLst>
          </p:cNvPr>
          <p:cNvSpPr/>
          <p:nvPr/>
        </p:nvSpPr>
        <p:spPr>
          <a:xfrm>
            <a:off x="4762344" y="3475570"/>
            <a:ext cx="3871035" cy="0"/>
          </a:xfrm>
          <a:custGeom>
            <a:avLst/>
            <a:gdLst>
              <a:gd name="connsiteX0" fmla="*/ 0 w 3810000"/>
              <a:gd name="connsiteY0" fmla="*/ 0 h 0"/>
              <a:gd name="connsiteX1" fmla="*/ 3810000 w 3810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10000">
                <a:moveTo>
                  <a:pt x="0" y="0"/>
                </a:moveTo>
                <a:lnTo>
                  <a:pt x="3810000" y="0"/>
                </a:lnTo>
              </a:path>
            </a:pathLst>
          </a:custGeom>
          <a:noFill/>
          <a:ln w="6350">
            <a:solidFill>
              <a:schemeClr val="accent3"/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39F39CB-4D8B-AF7E-31DC-8084DDBF44CF}"/>
              </a:ext>
            </a:extLst>
          </p:cNvPr>
          <p:cNvSpPr/>
          <p:nvPr/>
        </p:nvSpPr>
        <p:spPr>
          <a:xfrm>
            <a:off x="9364056" y="2729346"/>
            <a:ext cx="1041604" cy="559668"/>
          </a:xfrm>
          <a:custGeom>
            <a:avLst/>
            <a:gdLst>
              <a:gd name="connsiteX0" fmla="*/ 0 w 1021080"/>
              <a:gd name="connsiteY0" fmla="*/ 548640 h 548640"/>
              <a:gd name="connsiteX1" fmla="*/ 1021080 w 1021080"/>
              <a:gd name="connsiteY1" fmla="*/ 0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21080" h="548640">
                <a:moveTo>
                  <a:pt x="0" y="548640"/>
                </a:moveTo>
                <a:lnTo>
                  <a:pt x="1021080" y="0"/>
                </a:lnTo>
              </a:path>
            </a:pathLst>
          </a:custGeom>
          <a:noFill/>
          <a:ln w="6350">
            <a:solidFill>
              <a:schemeClr val="accent3"/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D550AC2-3220-5517-0897-B494D4E97769}"/>
              </a:ext>
            </a:extLst>
          </p:cNvPr>
          <p:cNvSpPr/>
          <p:nvPr/>
        </p:nvSpPr>
        <p:spPr>
          <a:xfrm>
            <a:off x="9457334" y="3413385"/>
            <a:ext cx="1461354" cy="878367"/>
          </a:xfrm>
          <a:custGeom>
            <a:avLst/>
            <a:gdLst>
              <a:gd name="connsiteX0" fmla="*/ 0 w 1432560"/>
              <a:gd name="connsiteY0" fmla="*/ 0 h 861060"/>
              <a:gd name="connsiteX1" fmla="*/ 845820 w 1432560"/>
              <a:gd name="connsiteY1" fmla="*/ 0 h 861060"/>
              <a:gd name="connsiteX2" fmla="*/ 1432560 w 1432560"/>
              <a:gd name="connsiteY2" fmla="*/ 861060 h 861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32560" h="861060">
                <a:moveTo>
                  <a:pt x="0" y="0"/>
                </a:moveTo>
                <a:lnTo>
                  <a:pt x="845820" y="0"/>
                </a:lnTo>
                <a:lnTo>
                  <a:pt x="1432560" y="861060"/>
                </a:lnTo>
              </a:path>
            </a:pathLst>
          </a:custGeom>
          <a:noFill/>
          <a:ln w="6350">
            <a:solidFill>
              <a:schemeClr val="accent3"/>
            </a:solidFill>
            <a:headEnd type="arrow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5B7E59-157E-331B-03D5-4BBB031ACD6B}"/>
              </a:ext>
            </a:extLst>
          </p:cNvPr>
          <p:cNvSpPr/>
          <p:nvPr/>
        </p:nvSpPr>
        <p:spPr>
          <a:xfrm>
            <a:off x="9402922" y="3568848"/>
            <a:ext cx="1189294" cy="746223"/>
          </a:xfrm>
          <a:custGeom>
            <a:avLst/>
            <a:gdLst>
              <a:gd name="connsiteX0" fmla="*/ 0 w 1165860"/>
              <a:gd name="connsiteY0" fmla="*/ 0 h 731520"/>
              <a:gd name="connsiteX1" fmla="*/ 632460 w 1165860"/>
              <a:gd name="connsiteY1" fmla="*/ 0 h 731520"/>
              <a:gd name="connsiteX2" fmla="*/ 1165860 w 1165860"/>
              <a:gd name="connsiteY2" fmla="*/ 73152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5860" h="731520">
                <a:moveTo>
                  <a:pt x="0" y="0"/>
                </a:moveTo>
                <a:lnTo>
                  <a:pt x="632460" y="0"/>
                </a:lnTo>
                <a:lnTo>
                  <a:pt x="1165860" y="731520"/>
                </a:lnTo>
              </a:path>
            </a:pathLst>
          </a:custGeom>
          <a:noFill/>
          <a:ln w="6350">
            <a:solidFill>
              <a:schemeClr val="accent3"/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E83E248-B82A-271A-2E7C-5B3A8FE08BD4}"/>
              </a:ext>
            </a:extLst>
          </p:cNvPr>
          <p:cNvGrpSpPr>
            <a:grpSpLocks noChangeAspect="1"/>
          </p:cNvGrpSpPr>
          <p:nvPr/>
        </p:nvGrpSpPr>
        <p:grpSpPr>
          <a:xfrm>
            <a:off x="4118357" y="4010632"/>
            <a:ext cx="564544" cy="437429"/>
            <a:chOff x="10436628" y="1511517"/>
            <a:chExt cx="608762" cy="47169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E7B870B-E7D3-7F1D-2740-6A53E14A7BDD}"/>
                </a:ext>
              </a:extLst>
            </p:cNvPr>
            <p:cNvSpPr/>
            <p:nvPr/>
          </p:nvSpPr>
          <p:spPr>
            <a:xfrm>
              <a:off x="10827257" y="1617630"/>
              <a:ext cx="112013" cy="112014"/>
            </a:xfrm>
            <a:custGeom>
              <a:avLst/>
              <a:gdLst>
                <a:gd name="connsiteX0" fmla="*/ 112014 w 112013"/>
                <a:gd name="connsiteY0" fmla="*/ 56007 h 112014"/>
                <a:gd name="connsiteX1" fmla="*/ 56007 w 112013"/>
                <a:gd name="connsiteY1" fmla="*/ 112014 h 112014"/>
                <a:gd name="connsiteX2" fmla="*/ 0 w 112013"/>
                <a:gd name="connsiteY2" fmla="*/ 56007 h 112014"/>
                <a:gd name="connsiteX3" fmla="*/ 56007 w 112013"/>
                <a:gd name="connsiteY3" fmla="*/ 0 h 112014"/>
                <a:gd name="connsiteX4" fmla="*/ 112014 w 112013"/>
                <a:gd name="connsiteY4" fmla="*/ 56007 h 112014"/>
                <a:gd name="connsiteX5" fmla="*/ 112014 w 112013"/>
                <a:gd name="connsiteY5" fmla="*/ 56007 h 112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013" h="112014">
                  <a:moveTo>
                    <a:pt x="112014" y="56007"/>
                  </a:moveTo>
                  <a:cubicBezTo>
                    <a:pt x="112014" y="86963"/>
                    <a:pt x="86963" y="112014"/>
                    <a:pt x="56007" y="112014"/>
                  </a:cubicBezTo>
                  <a:cubicBezTo>
                    <a:pt x="25051" y="112014"/>
                    <a:pt x="0" y="86963"/>
                    <a:pt x="0" y="56007"/>
                  </a:cubicBezTo>
                  <a:cubicBezTo>
                    <a:pt x="0" y="25051"/>
                    <a:pt x="25051" y="0"/>
                    <a:pt x="56007" y="0"/>
                  </a:cubicBezTo>
                  <a:cubicBezTo>
                    <a:pt x="86963" y="0"/>
                    <a:pt x="112014" y="25051"/>
                    <a:pt x="112014" y="56007"/>
                  </a:cubicBezTo>
                  <a:lnTo>
                    <a:pt x="112014" y="56007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F8E944C-E908-84DC-4EB4-EC9F3719D739}"/>
                </a:ext>
              </a:extLst>
            </p:cNvPr>
            <p:cNvSpPr/>
            <p:nvPr/>
          </p:nvSpPr>
          <p:spPr>
            <a:xfrm>
              <a:off x="10562462" y="1712023"/>
              <a:ext cx="145160" cy="145160"/>
            </a:xfrm>
            <a:custGeom>
              <a:avLst/>
              <a:gdLst>
                <a:gd name="connsiteX0" fmla="*/ 145161 w 145160"/>
                <a:gd name="connsiteY0" fmla="*/ 72580 h 145160"/>
                <a:gd name="connsiteX1" fmla="*/ 72581 w 145160"/>
                <a:gd name="connsiteY1" fmla="*/ 145161 h 145160"/>
                <a:gd name="connsiteX2" fmla="*/ 0 w 145160"/>
                <a:gd name="connsiteY2" fmla="*/ 72580 h 145160"/>
                <a:gd name="connsiteX3" fmla="*/ 72581 w 145160"/>
                <a:gd name="connsiteY3" fmla="*/ 0 h 145160"/>
                <a:gd name="connsiteX4" fmla="*/ 145161 w 145160"/>
                <a:gd name="connsiteY4" fmla="*/ 72580 h 145160"/>
                <a:gd name="connsiteX5" fmla="*/ 145161 w 145160"/>
                <a:gd name="connsiteY5" fmla="*/ 72580 h 14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160" h="145160">
                  <a:moveTo>
                    <a:pt x="145161" y="72580"/>
                  </a:moveTo>
                  <a:cubicBezTo>
                    <a:pt x="145161" y="112681"/>
                    <a:pt x="112681" y="145161"/>
                    <a:pt x="72581" y="145161"/>
                  </a:cubicBezTo>
                  <a:cubicBezTo>
                    <a:pt x="32480" y="145161"/>
                    <a:pt x="0" y="112681"/>
                    <a:pt x="0" y="72580"/>
                  </a:cubicBezTo>
                  <a:cubicBezTo>
                    <a:pt x="0" y="32480"/>
                    <a:pt x="32480" y="0"/>
                    <a:pt x="72581" y="0"/>
                  </a:cubicBezTo>
                  <a:cubicBezTo>
                    <a:pt x="112681" y="0"/>
                    <a:pt x="145161" y="32480"/>
                    <a:pt x="145161" y="72580"/>
                  </a:cubicBezTo>
                  <a:lnTo>
                    <a:pt x="145161" y="72580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78F308F-20BD-FE59-3E53-87B840298C43}"/>
                </a:ext>
              </a:extLst>
            </p:cNvPr>
            <p:cNvSpPr/>
            <p:nvPr/>
          </p:nvSpPr>
          <p:spPr>
            <a:xfrm>
              <a:off x="10436628" y="1585998"/>
              <a:ext cx="362849" cy="397210"/>
            </a:xfrm>
            <a:custGeom>
              <a:avLst/>
              <a:gdLst>
                <a:gd name="connsiteX0" fmla="*/ 240420 w 362849"/>
                <a:gd name="connsiteY0" fmla="*/ 15725 h 397210"/>
                <a:gd name="connsiteX1" fmla="*/ 225275 w 362849"/>
                <a:gd name="connsiteY1" fmla="*/ 1819 h 397210"/>
                <a:gd name="connsiteX2" fmla="*/ 171840 w 362849"/>
                <a:gd name="connsiteY2" fmla="*/ 9 h 397210"/>
                <a:gd name="connsiteX3" fmla="*/ 155552 w 362849"/>
                <a:gd name="connsiteY3" fmla="*/ 14678 h 397210"/>
                <a:gd name="connsiteX4" fmla="*/ 153933 w 362849"/>
                <a:gd name="connsiteY4" fmla="*/ 37538 h 397210"/>
                <a:gd name="connsiteX5" fmla="*/ 142979 w 362849"/>
                <a:gd name="connsiteY5" fmla="*/ 52206 h 397210"/>
                <a:gd name="connsiteX6" fmla="*/ 134121 w 362849"/>
                <a:gd name="connsiteY6" fmla="*/ 55921 h 397210"/>
                <a:gd name="connsiteX7" fmla="*/ 116690 w 362849"/>
                <a:gd name="connsiteY7" fmla="*/ 53730 h 397210"/>
                <a:gd name="connsiteX8" fmla="*/ 98879 w 362849"/>
                <a:gd name="connsiteY8" fmla="*/ 39728 h 397210"/>
                <a:gd name="connsiteX9" fmla="*/ 78400 w 362849"/>
                <a:gd name="connsiteY9" fmla="*/ 40586 h 397210"/>
                <a:gd name="connsiteX10" fmla="*/ 39252 w 362849"/>
                <a:gd name="connsiteY10" fmla="*/ 77066 h 397210"/>
                <a:gd name="connsiteX11" fmla="*/ 38109 w 362849"/>
                <a:gd name="connsiteY11" fmla="*/ 98974 h 397210"/>
                <a:gd name="connsiteX12" fmla="*/ 53063 w 362849"/>
                <a:gd name="connsiteY12" fmla="*/ 116309 h 397210"/>
                <a:gd name="connsiteX13" fmla="*/ 55730 w 362849"/>
                <a:gd name="connsiteY13" fmla="*/ 134407 h 397210"/>
                <a:gd name="connsiteX14" fmla="*/ 52016 w 362849"/>
                <a:gd name="connsiteY14" fmla="*/ 143360 h 397210"/>
                <a:gd name="connsiteX15" fmla="*/ 38204 w 362849"/>
                <a:gd name="connsiteY15" fmla="*/ 154124 h 397210"/>
                <a:gd name="connsiteX16" fmla="*/ 15725 w 362849"/>
                <a:gd name="connsiteY16" fmla="*/ 156791 h 397210"/>
                <a:gd name="connsiteX17" fmla="*/ 1819 w 362849"/>
                <a:gd name="connsiteY17" fmla="*/ 171935 h 397210"/>
                <a:gd name="connsiteX18" fmla="*/ 9 w 362849"/>
                <a:gd name="connsiteY18" fmla="*/ 225371 h 397210"/>
                <a:gd name="connsiteX19" fmla="*/ 14678 w 362849"/>
                <a:gd name="connsiteY19" fmla="*/ 241658 h 397210"/>
                <a:gd name="connsiteX20" fmla="*/ 37538 w 362849"/>
                <a:gd name="connsiteY20" fmla="*/ 243278 h 397210"/>
                <a:gd name="connsiteX21" fmla="*/ 52206 w 362849"/>
                <a:gd name="connsiteY21" fmla="*/ 254136 h 397210"/>
                <a:gd name="connsiteX22" fmla="*/ 55826 w 362849"/>
                <a:gd name="connsiteY22" fmla="*/ 262994 h 397210"/>
                <a:gd name="connsiteX23" fmla="*/ 53730 w 362849"/>
                <a:gd name="connsiteY23" fmla="*/ 280425 h 397210"/>
                <a:gd name="connsiteX24" fmla="*/ 39728 w 362849"/>
                <a:gd name="connsiteY24" fmla="*/ 298237 h 397210"/>
                <a:gd name="connsiteX25" fmla="*/ 40586 w 362849"/>
                <a:gd name="connsiteY25" fmla="*/ 318811 h 397210"/>
                <a:gd name="connsiteX26" fmla="*/ 77066 w 362849"/>
                <a:gd name="connsiteY26" fmla="*/ 357959 h 397210"/>
                <a:gd name="connsiteX27" fmla="*/ 98974 w 362849"/>
                <a:gd name="connsiteY27" fmla="*/ 359102 h 397210"/>
                <a:gd name="connsiteX28" fmla="*/ 116309 w 362849"/>
                <a:gd name="connsiteY28" fmla="*/ 344147 h 397210"/>
                <a:gd name="connsiteX29" fmla="*/ 134407 w 362849"/>
                <a:gd name="connsiteY29" fmla="*/ 341480 h 397210"/>
                <a:gd name="connsiteX30" fmla="*/ 143265 w 362849"/>
                <a:gd name="connsiteY30" fmla="*/ 345195 h 397210"/>
                <a:gd name="connsiteX31" fmla="*/ 154028 w 362849"/>
                <a:gd name="connsiteY31" fmla="*/ 359006 h 397210"/>
                <a:gd name="connsiteX32" fmla="*/ 156695 w 362849"/>
                <a:gd name="connsiteY32" fmla="*/ 381485 h 397210"/>
                <a:gd name="connsiteX33" fmla="*/ 171840 w 362849"/>
                <a:gd name="connsiteY33" fmla="*/ 395392 h 397210"/>
                <a:gd name="connsiteX34" fmla="*/ 225275 w 362849"/>
                <a:gd name="connsiteY34" fmla="*/ 397202 h 397210"/>
                <a:gd name="connsiteX35" fmla="*/ 241563 w 362849"/>
                <a:gd name="connsiteY35" fmla="*/ 382533 h 397210"/>
                <a:gd name="connsiteX36" fmla="*/ 243182 w 362849"/>
                <a:gd name="connsiteY36" fmla="*/ 359673 h 397210"/>
                <a:gd name="connsiteX37" fmla="*/ 254136 w 362849"/>
                <a:gd name="connsiteY37" fmla="*/ 345005 h 397210"/>
                <a:gd name="connsiteX38" fmla="*/ 262994 w 362849"/>
                <a:gd name="connsiteY38" fmla="*/ 341290 h 397210"/>
                <a:gd name="connsiteX39" fmla="*/ 280425 w 362849"/>
                <a:gd name="connsiteY39" fmla="*/ 343481 h 397210"/>
                <a:gd name="connsiteX40" fmla="*/ 298237 w 362849"/>
                <a:gd name="connsiteY40" fmla="*/ 357482 h 397210"/>
                <a:gd name="connsiteX41" fmla="*/ 318716 w 362849"/>
                <a:gd name="connsiteY41" fmla="*/ 356625 h 397210"/>
                <a:gd name="connsiteX42" fmla="*/ 357863 w 362849"/>
                <a:gd name="connsiteY42" fmla="*/ 320144 h 397210"/>
                <a:gd name="connsiteX43" fmla="*/ 359006 w 362849"/>
                <a:gd name="connsiteY43" fmla="*/ 298237 h 39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62849" h="397210">
                  <a:moveTo>
                    <a:pt x="240420" y="15725"/>
                  </a:moveTo>
                  <a:cubicBezTo>
                    <a:pt x="239468" y="8010"/>
                    <a:pt x="233086" y="2105"/>
                    <a:pt x="225275" y="1819"/>
                  </a:cubicBezTo>
                  <a:lnTo>
                    <a:pt x="171840" y="9"/>
                  </a:lnTo>
                  <a:cubicBezTo>
                    <a:pt x="163363" y="-277"/>
                    <a:pt x="156219" y="6200"/>
                    <a:pt x="155552" y="14678"/>
                  </a:cubicBezTo>
                  <a:lnTo>
                    <a:pt x="153933" y="37538"/>
                  </a:lnTo>
                  <a:cubicBezTo>
                    <a:pt x="153457" y="44110"/>
                    <a:pt x="149171" y="49825"/>
                    <a:pt x="142979" y="52206"/>
                  </a:cubicBezTo>
                  <a:cubicBezTo>
                    <a:pt x="140027" y="53349"/>
                    <a:pt x="136979" y="54587"/>
                    <a:pt x="134121" y="55921"/>
                  </a:cubicBezTo>
                  <a:cubicBezTo>
                    <a:pt x="128406" y="58493"/>
                    <a:pt x="121643" y="57635"/>
                    <a:pt x="116690" y="53730"/>
                  </a:cubicBezTo>
                  <a:lnTo>
                    <a:pt x="98879" y="39728"/>
                  </a:lnTo>
                  <a:cubicBezTo>
                    <a:pt x="92783" y="34871"/>
                    <a:pt x="84020" y="35252"/>
                    <a:pt x="78400" y="40586"/>
                  </a:cubicBezTo>
                  <a:lnTo>
                    <a:pt x="39252" y="77066"/>
                  </a:lnTo>
                  <a:cubicBezTo>
                    <a:pt x="33061" y="82877"/>
                    <a:pt x="32585" y="92497"/>
                    <a:pt x="38109" y="98974"/>
                  </a:cubicBezTo>
                  <a:lnTo>
                    <a:pt x="53063" y="116309"/>
                  </a:lnTo>
                  <a:cubicBezTo>
                    <a:pt x="57445" y="121358"/>
                    <a:pt x="58397" y="128406"/>
                    <a:pt x="55730" y="134407"/>
                  </a:cubicBezTo>
                  <a:cubicBezTo>
                    <a:pt x="54397" y="137360"/>
                    <a:pt x="53159" y="140312"/>
                    <a:pt x="52016" y="143360"/>
                  </a:cubicBezTo>
                  <a:cubicBezTo>
                    <a:pt x="49730" y="149266"/>
                    <a:pt x="44396" y="153362"/>
                    <a:pt x="38204" y="154124"/>
                  </a:cubicBezTo>
                  <a:lnTo>
                    <a:pt x="15725" y="156791"/>
                  </a:lnTo>
                  <a:cubicBezTo>
                    <a:pt x="8010" y="157743"/>
                    <a:pt x="2105" y="164125"/>
                    <a:pt x="1819" y="171935"/>
                  </a:cubicBezTo>
                  <a:lnTo>
                    <a:pt x="9" y="225371"/>
                  </a:lnTo>
                  <a:cubicBezTo>
                    <a:pt x="-277" y="233848"/>
                    <a:pt x="6200" y="241087"/>
                    <a:pt x="14678" y="241658"/>
                  </a:cubicBezTo>
                  <a:lnTo>
                    <a:pt x="37538" y="243278"/>
                  </a:lnTo>
                  <a:cubicBezTo>
                    <a:pt x="44110" y="243754"/>
                    <a:pt x="49825" y="248040"/>
                    <a:pt x="52206" y="254136"/>
                  </a:cubicBezTo>
                  <a:cubicBezTo>
                    <a:pt x="53349" y="257184"/>
                    <a:pt x="54587" y="260137"/>
                    <a:pt x="55826" y="262994"/>
                  </a:cubicBezTo>
                  <a:cubicBezTo>
                    <a:pt x="58397" y="268709"/>
                    <a:pt x="57635" y="275472"/>
                    <a:pt x="53730" y="280425"/>
                  </a:cubicBezTo>
                  <a:lnTo>
                    <a:pt x="39728" y="298237"/>
                  </a:lnTo>
                  <a:cubicBezTo>
                    <a:pt x="34966" y="304333"/>
                    <a:pt x="35252" y="313096"/>
                    <a:pt x="40586" y="318811"/>
                  </a:cubicBezTo>
                  <a:lnTo>
                    <a:pt x="77066" y="357959"/>
                  </a:lnTo>
                  <a:cubicBezTo>
                    <a:pt x="82877" y="364150"/>
                    <a:pt x="92497" y="364626"/>
                    <a:pt x="98974" y="359102"/>
                  </a:cubicBezTo>
                  <a:lnTo>
                    <a:pt x="116309" y="344147"/>
                  </a:lnTo>
                  <a:cubicBezTo>
                    <a:pt x="121358" y="339766"/>
                    <a:pt x="128406" y="338813"/>
                    <a:pt x="134407" y="341480"/>
                  </a:cubicBezTo>
                  <a:cubicBezTo>
                    <a:pt x="137360" y="342814"/>
                    <a:pt x="140312" y="344052"/>
                    <a:pt x="143265" y="345195"/>
                  </a:cubicBezTo>
                  <a:cubicBezTo>
                    <a:pt x="149171" y="347386"/>
                    <a:pt x="153266" y="352720"/>
                    <a:pt x="154028" y="359006"/>
                  </a:cubicBezTo>
                  <a:lnTo>
                    <a:pt x="156695" y="381485"/>
                  </a:lnTo>
                  <a:cubicBezTo>
                    <a:pt x="157648" y="389201"/>
                    <a:pt x="164030" y="395106"/>
                    <a:pt x="171840" y="395392"/>
                  </a:cubicBezTo>
                  <a:lnTo>
                    <a:pt x="225275" y="397202"/>
                  </a:lnTo>
                  <a:cubicBezTo>
                    <a:pt x="233753" y="397487"/>
                    <a:pt x="240896" y="391010"/>
                    <a:pt x="241563" y="382533"/>
                  </a:cubicBezTo>
                  <a:lnTo>
                    <a:pt x="243182" y="359673"/>
                  </a:lnTo>
                  <a:cubicBezTo>
                    <a:pt x="243659" y="353101"/>
                    <a:pt x="247945" y="347386"/>
                    <a:pt x="254136" y="345005"/>
                  </a:cubicBezTo>
                  <a:cubicBezTo>
                    <a:pt x="257089" y="343862"/>
                    <a:pt x="260137" y="342623"/>
                    <a:pt x="262994" y="341290"/>
                  </a:cubicBezTo>
                  <a:cubicBezTo>
                    <a:pt x="268709" y="338718"/>
                    <a:pt x="275472" y="339575"/>
                    <a:pt x="280425" y="343481"/>
                  </a:cubicBezTo>
                  <a:lnTo>
                    <a:pt x="298237" y="357482"/>
                  </a:lnTo>
                  <a:cubicBezTo>
                    <a:pt x="304333" y="362340"/>
                    <a:pt x="313096" y="361959"/>
                    <a:pt x="318716" y="356625"/>
                  </a:cubicBezTo>
                  <a:lnTo>
                    <a:pt x="357863" y="320144"/>
                  </a:lnTo>
                  <a:cubicBezTo>
                    <a:pt x="364055" y="314334"/>
                    <a:pt x="364531" y="304714"/>
                    <a:pt x="359006" y="298237"/>
                  </a:cubicBez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659DAA0-6CA3-ED68-B833-D648AF7A9B24}"/>
                </a:ext>
              </a:extLst>
            </p:cNvPr>
            <p:cNvSpPr/>
            <p:nvPr/>
          </p:nvSpPr>
          <p:spPr>
            <a:xfrm>
              <a:off x="10720947" y="1511517"/>
              <a:ext cx="324443" cy="324437"/>
            </a:xfrm>
            <a:custGeom>
              <a:avLst/>
              <a:gdLst>
                <a:gd name="connsiteX0" fmla="*/ 312621 w 324443"/>
                <a:gd name="connsiteY0" fmla="*/ 127069 h 324437"/>
                <a:gd name="connsiteX1" fmla="*/ 293952 w 324443"/>
                <a:gd name="connsiteY1" fmla="*/ 125735 h 324437"/>
                <a:gd name="connsiteX2" fmla="*/ 281951 w 324443"/>
                <a:gd name="connsiteY2" fmla="*/ 116877 h 324437"/>
                <a:gd name="connsiteX3" fmla="*/ 278903 w 324443"/>
                <a:gd name="connsiteY3" fmla="*/ 109638 h 324437"/>
                <a:gd name="connsiteX4" fmla="*/ 280617 w 324443"/>
                <a:gd name="connsiteY4" fmla="*/ 95446 h 324437"/>
                <a:gd name="connsiteX5" fmla="*/ 292047 w 324443"/>
                <a:gd name="connsiteY5" fmla="*/ 80872 h 324437"/>
                <a:gd name="connsiteX6" fmla="*/ 291381 w 324443"/>
                <a:gd name="connsiteY6" fmla="*/ 64108 h 324437"/>
                <a:gd name="connsiteX7" fmla="*/ 261567 w 324443"/>
                <a:gd name="connsiteY7" fmla="*/ 32200 h 324437"/>
                <a:gd name="connsiteX8" fmla="*/ 243660 w 324443"/>
                <a:gd name="connsiteY8" fmla="*/ 31247 h 324437"/>
                <a:gd name="connsiteX9" fmla="*/ 229563 w 324443"/>
                <a:gd name="connsiteY9" fmla="*/ 43439 h 324437"/>
                <a:gd name="connsiteX10" fmla="*/ 214800 w 324443"/>
                <a:gd name="connsiteY10" fmla="*/ 45630 h 324437"/>
                <a:gd name="connsiteX11" fmla="*/ 207561 w 324443"/>
                <a:gd name="connsiteY11" fmla="*/ 42582 h 324437"/>
                <a:gd name="connsiteX12" fmla="*/ 198798 w 324443"/>
                <a:gd name="connsiteY12" fmla="*/ 31247 h 324437"/>
                <a:gd name="connsiteX13" fmla="*/ 196607 w 324443"/>
                <a:gd name="connsiteY13" fmla="*/ 12864 h 324437"/>
                <a:gd name="connsiteX14" fmla="*/ 184224 w 324443"/>
                <a:gd name="connsiteY14" fmla="*/ 1529 h 324437"/>
                <a:gd name="connsiteX15" fmla="*/ 140505 w 324443"/>
                <a:gd name="connsiteY15" fmla="*/ 5 h 324437"/>
                <a:gd name="connsiteX16" fmla="*/ 127170 w 324443"/>
                <a:gd name="connsiteY16" fmla="*/ 12007 h 324437"/>
                <a:gd name="connsiteX17" fmla="*/ 125836 w 324443"/>
                <a:gd name="connsiteY17" fmla="*/ 30676 h 324437"/>
                <a:gd name="connsiteX18" fmla="*/ 116883 w 324443"/>
                <a:gd name="connsiteY18" fmla="*/ 42582 h 324437"/>
                <a:gd name="connsiteX19" fmla="*/ 109644 w 324443"/>
                <a:gd name="connsiteY19" fmla="*/ 45630 h 324437"/>
                <a:gd name="connsiteX20" fmla="*/ 95451 w 324443"/>
                <a:gd name="connsiteY20" fmla="*/ 43915 h 324437"/>
                <a:gd name="connsiteX21" fmla="*/ 80878 w 324443"/>
                <a:gd name="connsiteY21" fmla="*/ 32485 h 324437"/>
                <a:gd name="connsiteX22" fmla="*/ 64114 w 324443"/>
                <a:gd name="connsiteY22" fmla="*/ 33152 h 324437"/>
                <a:gd name="connsiteX23" fmla="*/ 32110 w 324443"/>
                <a:gd name="connsiteY23" fmla="*/ 62965 h 324437"/>
                <a:gd name="connsiteX24" fmla="*/ 31158 w 324443"/>
                <a:gd name="connsiteY24" fmla="*/ 80872 h 324437"/>
                <a:gd name="connsiteX25" fmla="*/ 43445 w 324443"/>
                <a:gd name="connsiteY25" fmla="*/ 95065 h 324437"/>
                <a:gd name="connsiteX26" fmla="*/ 45636 w 324443"/>
                <a:gd name="connsiteY26" fmla="*/ 109828 h 324437"/>
                <a:gd name="connsiteX27" fmla="*/ 42588 w 324443"/>
                <a:gd name="connsiteY27" fmla="*/ 117067 h 324437"/>
                <a:gd name="connsiteX28" fmla="*/ 31253 w 324443"/>
                <a:gd name="connsiteY28" fmla="*/ 125830 h 324437"/>
                <a:gd name="connsiteX29" fmla="*/ 12870 w 324443"/>
                <a:gd name="connsiteY29" fmla="*/ 128021 h 324437"/>
                <a:gd name="connsiteX30" fmla="*/ 1535 w 324443"/>
                <a:gd name="connsiteY30" fmla="*/ 140404 h 324437"/>
                <a:gd name="connsiteX31" fmla="*/ 11 w 324443"/>
                <a:gd name="connsiteY31" fmla="*/ 184028 h 324437"/>
                <a:gd name="connsiteX32" fmla="*/ 11917 w 324443"/>
                <a:gd name="connsiteY32" fmla="*/ 197363 h 324437"/>
                <a:gd name="connsiteX33" fmla="*/ 30586 w 324443"/>
                <a:gd name="connsiteY33" fmla="*/ 198697 h 324437"/>
                <a:gd name="connsiteX34" fmla="*/ 42588 w 324443"/>
                <a:gd name="connsiteY34" fmla="*/ 207555 h 324437"/>
                <a:gd name="connsiteX35" fmla="*/ 45540 w 324443"/>
                <a:gd name="connsiteY35" fmla="*/ 214794 h 324437"/>
                <a:gd name="connsiteX36" fmla="*/ 43826 w 324443"/>
                <a:gd name="connsiteY36" fmla="*/ 228986 h 324437"/>
                <a:gd name="connsiteX37" fmla="*/ 32396 w 324443"/>
                <a:gd name="connsiteY37" fmla="*/ 243559 h 324437"/>
                <a:gd name="connsiteX38" fmla="*/ 33063 w 324443"/>
                <a:gd name="connsiteY38" fmla="*/ 260323 h 324437"/>
                <a:gd name="connsiteX39" fmla="*/ 62876 w 324443"/>
                <a:gd name="connsiteY39" fmla="*/ 292232 h 324437"/>
                <a:gd name="connsiteX40" fmla="*/ 80783 w 324443"/>
                <a:gd name="connsiteY40" fmla="*/ 293185 h 324437"/>
                <a:gd name="connsiteX41" fmla="*/ 94880 w 324443"/>
                <a:gd name="connsiteY41" fmla="*/ 280993 h 324437"/>
                <a:gd name="connsiteX42" fmla="*/ 109644 w 324443"/>
                <a:gd name="connsiteY42" fmla="*/ 278802 h 324437"/>
                <a:gd name="connsiteX43" fmla="*/ 116883 w 324443"/>
                <a:gd name="connsiteY43" fmla="*/ 281850 h 324437"/>
                <a:gd name="connsiteX44" fmla="*/ 125646 w 324443"/>
                <a:gd name="connsiteY44" fmla="*/ 293185 h 324437"/>
                <a:gd name="connsiteX45" fmla="*/ 127836 w 324443"/>
                <a:gd name="connsiteY45" fmla="*/ 311568 h 324437"/>
                <a:gd name="connsiteX46" fmla="*/ 140219 w 324443"/>
                <a:gd name="connsiteY46" fmla="*/ 322903 h 324437"/>
                <a:gd name="connsiteX47" fmla="*/ 183939 w 324443"/>
                <a:gd name="connsiteY47" fmla="*/ 324427 h 324437"/>
                <a:gd name="connsiteX48" fmla="*/ 197274 w 324443"/>
                <a:gd name="connsiteY48" fmla="*/ 312425 h 324437"/>
                <a:gd name="connsiteX49" fmla="*/ 198607 w 324443"/>
                <a:gd name="connsiteY49" fmla="*/ 293756 h 324437"/>
                <a:gd name="connsiteX50" fmla="*/ 207561 w 324443"/>
                <a:gd name="connsiteY50" fmla="*/ 281850 h 324437"/>
                <a:gd name="connsiteX51" fmla="*/ 214800 w 324443"/>
                <a:gd name="connsiteY51" fmla="*/ 278802 h 324437"/>
                <a:gd name="connsiteX52" fmla="*/ 228992 w 324443"/>
                <a:gd name="connsiteY52" fmla="*/ 280516 h 324437"/>
                <a:gd name="connsiteX53" fmla="*/ 243565 w 324443"/>
                <a:gd name="connsiteY53" fmla="*/ 291946 h 324437"/>
                <a:gd name="connsiteX54" fmla="*/ 260329 w 324443"/>
                <a:gd name="connsiteY54" fmla="*/ 291280 h 324437"/>
                <a:gd name="connsiteX55" fmla="*/ 292333 w 324443"/>
                <a:gd name="connsiteY55" fmla="*/ 261466 h 324437"/>
                <a:gd name="connsiteX56" fmla="*/ 293286 w 324443"/>
                <a:gd name="connsiteY56" fmla="*/ 243559 h 324437"/>
                <a:gd name="connsiteX57" fmla="*/ 280998 w 324443"/>
                <a:gd name="connsiteY57" fmla="*/ 229367 h 324437"/>
                <a:gd name="connsiteX58" fmla="*/ 278808 w 324443"/>
                <a:gd name="connsiteY58" fmla="*/ 214603 h 324437"/>
                <a:gd name="connsiteX59" fmla="*/ 281856 w 324443"/>
                <a:gd name="connsiteY59" fmla="*/ 207364 h 324437"/>
                <a:gd name="connsiteX60" fmla="*/ 293190 w 324443"/>
                <a:gd name="connsiteY60" fmla="*/ 198601 h 324437"/>
                <a:gd name="connsiteX61" fmla="*/ 311574 w 324443"/>
                <a:gd name="connsiteY61" fmla="*/ 196411 h 324437"/>
                <a:gd name="connsiteX62" fmla="*/ 322908 w 324443"/>
                <a:gd name="connsiteY62" fmla="*/ 184028 h 324437"/>
                <a:gd name="connsiteX63" fmla="*/ 324432 w 324443"/>
                <a:gd name="connsiteY63" fmla="*/ 140404 h 324437"/>
                <a:gd name="connsiteX64" fmla="*/ 312526 w 324443"/>
                <a:gd name="connsiteY64" fmla="*/ 127069 h 32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24443" h="324437">
                  <a:moveTo>
                    <a:pt x="312621" y="127069"/>
                  </a:moveTo>
                  <a:lnTo>
                    <a:pt x="293952" y="125735"/>
                  </a:lnTo>
                  <a:cubicBezTo>
                    <a:pt x="288523" y="125354"/>
                    <a:pt x="283951" y="121830"/>
                    <a:pt x="281951" y="116877"/>
                  </a:cubicBezTo>
                  <a:cubicBezTo>
                    <a:pt x="280998" y="114400"/>
                    <a:pt x="280046" y="112019"/>
                    <a:pt x="278903" y="109638"/>
                  </a:cubicBezTo>
                  <a:cubicBezTo>
                    <a:pt x="276807" y="104971"/>
                    <a:pt x="277474" y="99446"/>
                    <a:pt x="280617" y="95446"/>
                  </a:cubicBezTo>
                  <a:lnTo>
                    <a:pt x="292047" y="80872"/>
                  </a:lnTo>
                  <a:cubicBezTo>
                    <a:pt x="295953" y="75824"/>
                    <a:pt x="295667" y="68776"/>
                    <a:pt x="291381" y="64108"/>
                  </a:cubicBezTo>
                  <a:lnTo>
                    <a:pt x="261567" y="32200"/>
                  </a:lnTo>
                  <a:cubicBezTo>
                    <a:pt x="256805" y="27151"/>
                    <a:pt x="248994" y="26675"/>
                    <a:pt x="243660" y="31247"/>
                  </a:cubicBezTo>
                  <a:lnTo>
                    <a:pt x="229563" y="43439"/>
                  </a:lnTo>
                  <a:cubicBezTo>
                    <a:pt x="225468" y="46963"/>
                    <a:pt x="219753" y="47821"/>
                    <a:pt x="214800" y="45630"/>
                  </a:cubicBezTo>
                  <a:cubicBezTo>
                    <a:pt x="212418" y="44582"/>
                    <a:pt x="210037" y="43534"/>
                    <a:pt x="207561" y="42582"/>
                  </a:cubicBezTo>
                  <a:cubicBezTo>
                    <a:pt x="202703" y="40772"/>
                    <a:pt x="199369" y="36391"/>
                    <a:pt x="198798" y="31247"/>
                  </a:cubicBezTo>
                  <a:lnTo>
                    <a:pt x="196607" y="12864"/>
                  </a:lnTo>
                  <a:cubicBezTo>
                    <a:pt x="195845" y="6577"/>
                    <a:pt x="190606" y="1720"/>
                    <a:pt x="184224" y="1529"/>
                  </a:cubicBezTo>
                  <a:lnTo>
                    <a:pt x="140505" y="5"/>
                  </a:lnTo>
                  <a:cubicBezTo>
                    <a:pt x="133551" y="-185"/>
                    <a:pt x="127741" y="5053"/>
                    <a:pt x="127170" y="12007"/>
                  </a:cubicBezTo>
                  <a:lnTo>
                    <a:pt x="125836" y="30676"/>
                  </a:lnTo>
                  <a:cubicBezTo>
                    <a:pt x="125455" y="36010"/>
                    <a:pt x="121931" y="40677"/>
                    <a:pt x="116883" y="42582"/>
                  </a:cubicBezTo>
                  <a:cubicBezTo>
                    <a:pt x="114406" y="43534"/>
                    <a:pt x="112025" y="44487"/>
                    <a:pt x="109644" y="45630"/>
                  </a:cubicBezTo>
                  <a:cubicBezTo>
                    <a:pt x="104976" y="47725"/>
                    <a:pt x="99452" y="47059"/>
                    <a:pt x="95451" y="43915"/>
                  </a:cubicBezTo>
                  <a:lnTo>
                    <a:pt x="80878" y="32485"/>
                  </a:lnTo>
                  <a:cubicBezTo>
                    <a:pt x="75925" y="28580"/>
                    <a:pt x="68781" y="28866"/>
                    <a:pt x="64114" y="33152"/>
                  </a:cubicBezTo>
                  <a:lnTo>
                    <a:pt x="32110" y="62965"/>
                  </a:lnTo>
                  <a:cubicBezTo>
                    <a:pt x="27062" y="67728"/>
                    <a:pt x="26586" y="75634"/>
                    <a:pt x="31158" y="80872"/>
                  </a:cubicBezTo>
                  <a:lnTo>
                    <a:pt x="43445" y="95065"/>
                  </a:lnTo>
                  <a:cubicBezTo>
                    <a:pt x="46969" y="99160"/>
                    <a:pt x="47826" y="104875"/>
                    <a:pt x="45636" y="109828"/>
                  </a:cubicBezTo>
                  <a:cubicBezTo>
                    <a:pt x="44588" y="112210"/>
                    <a:pt x="43540" y="114591"/>
                    <a:pt x="42588" y="117067"/>
                  </a:cubicBezTo>
                  <a:cubicBezTo>
                    <a:pt x="40778" y="121830"/>
                    <a:pt x="36396" y="125259"/>
                    <a:pt x="31253" y="125830"/>
                  </a:cubicBezTo>
                  <a:lnTo>
                    <a:pt x="12870" y="128021"/>
                  </a:lnTo>
                  <a:cubicBezTo>
                    <a:pt x="6583" y="128783"/>
                    <a:pt x="1725" y="134022"/>
                    <a:pt x="1535" y="140404"/>
                  </a:cubicBezTo>
                  <a:lnTo>
                    <a:pt x="11" y="184028"/>
                  </a:lnTo>
                  <a:cubicBezTo>
                    <a:pt x="-275" y="190981"/>
                    <a:pt x="5059" y="196792"/>
                    <a:pt x="11917" y="197363"/>
                  </a:cubicBezTo>
                  <a:lnTo>
                    <a:pt x="30586" y="198697"/>
                  </a:lnTo>
                  <a:cubicBezTo>
                    <a:pt x="35920" y="199078"/>
                    <a:pt x="40587" y="202602"/>
                    <a:pt x="42588" y="207555"/>
                  </a:cubicBezTo>
                  <a:cubicBezTo>
                    <a:pt x="43540" y="210031"/>
                    <a:pt x="44493" y="212413"/>
                    <a:pt x="45540" y="214794"/>
                  </a:cubicBezTo>
                  <a:cubicBezTo>
                    <a:pt x="47636" y="219461"/>
                    <a:pt x="46969" y="224986"/>
                    <a:pt x="43826" y="228986"/>
                  </a:cubicBezTo>
                  <a:lnTo>
                    <a:pt x="32396" y="243559"/>
                  </a:lnTo>
                  <a:cubicBezTo>
                    <a:pt x="28491" y="248608"/>
                    <a:pt x="28776" y="255656"/>
                    <a:pt x="33063" y="260323"/>
                  </a:cubicBezTo>
                  <a:lnTo>
                    <a:pt x="62876" y="292232"/>
                  </a:lnTo>
                  <a:cubicBezTo>
                    <a:pt x="67638" y="297280"/>
                    <a:pt x="75449" y="297757"/>
                    <a:pt x="80783" y="293185"/>
                  </a:cubicBezTo>
                  <a:lnTo>
                    <a:pt x="94880" y="280993"/>
                  </a:lnTo>
                  <a:cubicBezTo>
                    <a:pt x="98976" y="277468"/>
                    <a:pt x="104691" y="276611"/>
                    <a:pt x="109644" y="278802"/>
                  </a:cubicBezTo>
                  <a:cubicBezTo>
                    <a:pt x="112025" y="279850"/>
                    <a:pt x="114406" y="280897"/>
                    <a:pt x="116883" y="281850"/>
                  </a:cubicBezTo>
                  <a:cubicBezTo>
                    <a:pt x="121645" y="283660"/>
                    <a:pt x="125074" y="288041"/>
                    <a:pt x="125646" y="293185"/>
                  </a:cubicBezTo>
                  <a:lnTo>
                    <a:pt x="127836" y="311568"/>
                  </a:lnTo>
                  <a:cubicBezTo>
                    <a:pt x="128598" y="317854"/>
                    <a:pt x="133837" y="322712"/>
                    <a:pt x="140219" y="322903"/>
                  </a:cubicBezTo>
                  <a:lnTo>
                    <a:pt x="183939" y="324427"/>
                  </a:lnTo>
                  <a:cubicBezTo>
                    <a:pt x="190892" y="324712"/>
                    <a:pt x="196702" y="319378"/>
                    <a:pt x="197274" y="312425"/>
                  </a:cubicBezTo>
                  <a:lnTo>
                    <a:pt x="198607" y="293756"/>
                  </a:lnTo>
                  <a:cubicBezTo>
                    <a:pt x="198988" y="288422"/>
                    <a:pt x="202512" y="283755"/>
                    <a:pt x="207561" y="281850"/>
                  </a:cubicBezTo>
                  <a:cubicBezTo>
                    <a:pt x="210037" y="280897"/>
                    <a:pt x="212418" y="279945"/>
                    <a:pt x="214800" y="278802"/>
                  </a:cubicBezTo>
                  <a:cubicBezTo>
                    <a:pt x="219467" y="276706"/>
                    <a:pt x="224991" y="277373"/>
                    <a:pt x="228992" y="280516"/>
                  </a:cubicBezTo>
                  <a:lnTo>
                    <a:pt x="243565" y="291946"/>
                  </a:lnTo>
                  <a:cubicBezTo>
                    <a:pt x="248518" y="295852"/>
                    <a:pt x="255662" y="295566"/>
                    <a:pt x="260329" y="291280"/>
                  </a:cubicBezTo>
                  <a:lnTo>
                    <a:pt x="292333" y="261466"/>
                  </a:lnTo>
                  <a:cubicBezTo>
                    <a:pt x="297381" y="256704"/>
                    <a:pt x="297858" y="248798"/>
                    <a:pt x="293286" y="243559"/>
                  </a:cubicBezTo>
                  <a:lnTo>
                    <a:pt x="280998" y="229367"/>
                  </a:lnTo>
                  <a:cubicBezTo>
                    <a:pt x="277474" y="225271"/>
                    <a:pt x="276617" y="219556"/>
                    <a:pt x="278808" y="214603"/>
                  </a:cubicBezTo>
                  <a:cubicBezTo>
                    <a:pt x="279855" y="212222"/>
                    <a:pt x="280903" y="209841"/>
                    <a:pt x="281856" y="207364"/>
                  </a:cubicBezTo>
                  <a:cubicBezTo>
                    <a:pt x="283665" y="202602"/>
                    <a:pt x="288047" y="199173"/>
                    <a:pt x="293190" y="198601"/>
                  </a:cubicBezTo>
                  <a:lnTo>
                    <a:pt x="311574" y="196411"/>
                  </a:lnTo>
                  <a:cubicBezTo>
                    <a:pt x="317860" y="195649"/>
                    <a:pt x="322718" y="190410"/>
                    <a:pt x="322908" y="184028"/>
                  </a:cubicBezTo>
                  <a:lnTo>
                    <a:pt x="324432" y="140404"/>
                  </a:lnTo>
                  <a:cubicBezTo>
                    <a:pt x="324718" y="133450"/>
                    <a:pt x="319384" y="127640"/>
                    <a:pt x="312526" y="127069"/>
                  </a:cubicBez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43949C0-BCB6-FDBB-BA29-26ACB7E4F5D7}"/>
              </a:ext>
            </a:extLst>
          </p:cNvPr>
          <p:cNvGrpSpPr>
            <a:grpSpLocks noChangeAspect="1"/>
          </p:cNvGrpSpPr>
          <p:nvPr/>
        </p:nvGrpSpPr>
        <p:grpSpPr>
          <a:xfrm>
            <a:off x="4089782" y="3266573"/>
            <a:ext cx="564544" cy="437429"/>
            <a:chOff x="10436628" y="1511517"/>
            <a:chExt cx="608762" cy="47169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716E694-A962-3321-43E2-85004C7F9770}"/>
                </a:ext>
              </a:extLst>
            </p:cNvPr>
            <p:cNvSpPr/>
            <p:nvPr/>
          </p:nvSpPr>
          <p:spPr>
            <a:xfrm>
              <a:off x="10827257" y="1617630"/>
              <a:ext cx="112013" cy="112014"/>
            </a:xfrm>
            <a:custGeom>
              <a:avLst/>
              <a:gdLst>
                <a:gd name="connsiteX0" fmla="*/ 112014 w 112013"/>
                <a:gd name="connsiteY0" fmla="*/ 56007 h 112014"/>
                <a:gd name="connsiteX1" fmla="*/ 56007 w 112013"/>
                <a:gd name="connsiteY1" fmla="*/ 112014 h 112014"/>
                <a:gd name="connsiteX2" fmla="*/ 0 w 112013"/>
                <a:gd name="connsiteY2" fmla="*/ 56007 h 112014"/>
                <a:gd name="connsiteX3" fmla="*/ 56007 w 112013"/>
                <a:gd name="connsiteY3" fmla="*/ 0 h 112014"/>
                <a:gd name="connsiteX4" fmla="*/ 112014 w 112013"/>
                <a:gd name="connsiteY4" fmla="*/ 56007 h 112014"/>
                <a:gd name="connsiteX5" fmla="*/ 112014 w 112013"/>
                <a:gd name="connsiteY5" fmla="*/ 56007 h 112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013" h="112014">
                  <a:moveTo>
                    <a:pt x="112014" y="56007"/>
                  </a:moveTo>
                  <a:cubicBezTo>
                    <a:pt x="112014" y="86963"/>
                    <a:pt x="86963" y="112014"/>
                    <a:pt x="56007" y="112014"/>
                  </a:cubicBezTo>
                  <a:cubicBezTo>
                    <a:pt x="25051" y="112014"/>
                    <a:pt x="0" y="86963"/>
                    <a:pt x="0" y="56007"/>
                  </a:cubicBezTo>
                  <a:cubicBezTo>
                    <a:pt x="0" y="25051"/>
                    <a:pt x="25051" y="0"/>
                    <a:pt x="56007" y="0"/>
                  </a:cubicBezTo>
                  <a:cubicBezTo>
                    <a:pt x="86963" y="0"/>
                    <a:pt x="112014" y="25051"/>
                    <a:pt x="112014" y="56007"/>
                  </a:cubicBezTo>
                  <a:lnTo>
                    <a:pt x="112014" y="56007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F3568CD-AAD2-8BFA-32DE-F2175B3044DC}"/>
                </a:ext>
              </a:extLst>
            </p:cNvPr>
            <p:cNvSpPr/>
            <p:nvPr/>
          </p:nvSpPr>
          <p:spPr>
            <a:xfrm>
              <a:off x="10562462" y="1712023"/>
              <a:ext cx="145160" cy="145160"/>
            </a:xfrm>
            <a:custGeom>
              <a:avLst/>
              <a:gdLst>
                <a:gd name="connsiteX0" fmla="*/ 145161 w 145160"/>
                <a:gd name="connsiteY0" fmla="*/ 72580 h 145160"/>
                <a:gd name="connsiteX1" fmla="*/ 72581 w 145160"/>
                <a:gd name="connsiteY1" fmla="*/ 145161 h 145160"/>
                <a:gd name="connsiteX2" fmla="*/ 0 w 145160"/>
                <a:gd name="connsiteY2" fmla="*/ 72580 h 145160"/>
                <a:gd name="connsiteX3" fmla="*/ 72581 w 145160"/>
                <a:gd name="connsiteY3" fmla="*/ 0 h 145160"/>
                <a:gd name="connsiteX4" fmla="*/ 145161 w 145160"/>
                <a:gd name="connsiteY4" fmla="*/ 72580 h 145160"/>
                <a:gd name="connsiteX5" fmla="*/ 145161 w 145160"/>
                <a:gd name="connsiteY5" fmla="*/ 72580 h 14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160" h="145160">
                  <a:moveTo>
                    <a:pt x="145161" y="72580"/>
                  </a:moveTo>
                  <a:cubicBezTo>
                    <a:pt x="145161" y="112681"/>
                    <a:pt x="112681" y="145161"/>
                    <a:pt x="72581" y="145161"/>
                  </a:cubicBezTo>
                  <a:cubicBezTo>
                    <a:pt x="32480" y="145161"/>
                    <a:pt x="0" y="112681"/>
                    <a:pt x="0" y="72580"/>
                  </a:cubicBezTo>
                  <a:cubicBezTo>
                    <a:pt x="0" y="32480"/>
                    <a:pt x="32480" y="0"/>
                    <a:pt x="72581" y="0"/>
                  </a:cubicBezTo>
                  <a:cubicBezTo>
                    <a:pt x="112681" y="0"/>
                    <a:pt x="145161" y="32480"/>
                    <a:pt x="145161" y="72580"/>
                  </a:cubicBezTo>
                  <a:lnTo>
                    <a:pt x="145161" y="72580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E88B056-FD5E-9D10-8A09-14037FC3931B}"/>
                </a:ext>
              </a:extLst>
            </p:cNvPr>
            <p:cNvSpPr/>
            <p:nvPr/>
          </p:nvSpPr>
          <p:spPr>
            <a:xfrm>
              <a:off x="10436628" y="1585998"/>
              <a:ext cx="362849" cy="397210"/>
            </a:xfrm>
            <a:custGeom>
              <a:avLst/>
              <a:gdLst>
                <a:gd name="connsiteX0" fmla="*/ 240420 w 362849"/>
                <a:gd name="connsiteY0" fmla="*/ 15725 h 397210"/>
                <a:gd name="connsiteX1" fmla="*/ 225275 w 362849"/>
                <a:gd name="connsiteY1" fmla="*/ 1819 h 397210"/>
                <a:gd name="connsiteX2" fmla="*/ 171840 w 362849"/>
                <a:gd name="connsiteY2" fmla="*/ 9 h 397210"/>
                <a:gd name="connsiteX3" fmla="*/ 155552 w 362849"/>
                <a:gd name="connsiteY3" fmla="*/ 14678 h 397210"/>
                <a:gd name="connsiteX4" fmla="*/ 153933 w 362849"/>
                <a:gd name="connsiteY4" fmla="*/ 37538 h 397210"/>
                <a:gd name="connsiteX5" fmla="*/ 142979 w 362849"/>
                <a:gd name="connsiteY5" fmla="*/ 52206 h 397210"/>
                <a:gd name="connsiteX6" fmla="*/ 134121 w 362849"/>
                <a:gd name="connsiteY6" fmla="*/ 55921 h 397210"/>
                <a:gd name="connsiteX7" fmla="*/ 116690 w 362849"/>
                <a:gd name="connsiteY7" fmla="*/ 53730 h 397210"/>
                <a:gd name="connsiteX8" fmla="*/ 98879 w 362849"/>
                <a:gd name="connsiteY8" fmla="*/ 39728 h 397210"/>
                <a:gd name="connsiteX9" fmla="*/ 78400 w 362849"/>
                <a:gd name="connsiteY9" fmla="*/ 40586 h 397210"/>
                <a:gd name="connsiteX10" fmla="*/ 39252 w 362849"/>
                <a:gd name="connsiteY10" fmla="*/ 77066 h 397210"/>
                <a:gd name="connsiteX11" fmla="*/ 38109 w 362849"/>
                <a:gd name="connsiteY11" fmla="*/ 98974 h 397210"/>
                <a:gd name="connsiteX12" fmla="*/ 53063 w 362849"/>
                <a:gd name="connsiteY12" fmla="*/ 116309 h 397210"/>
                <a:gd name="connsiteX13" fmla="*/ 55730 w 362849"/>
                <a:gd name="connsiteY13" fmla="*/ 134407 h 397210"/>
                <a:gd name="connsiteX14" fmla="*/ 52016 w 362849"/>
                <a:gd name="connsiteY14" fmla="*/ 143360 h 397210"/>
                <a:gd name="connsiteX15" fmla="*/ 38204 w 362849"/>
                <a:gd name="connsiteY15" fmla="*/ 154124 h 397210"/>
                <a:gd name="connsiteX16" fmla="*/ 15725 w 362849"/>
                <a:gd name="connsiteY16" fmla="*/ 156791 h 397210"/>
                <a:gd name="connsiteX17" fmla="*/ 1819 w 362849"/>
                <a:gd name="connsiteY17" fmla="*/ 171935 h 397210"/>
                <a:gd name="connsiteX18" fmla="*/ 9 w 362849"/>
                <a:gd name="connsiteY18" fmla="*/ 225371 h 397210"/>
                <a:gd name="connsiteX19" fmla="*/ 14678 w 362849"/>
                <a:gd name="connsiteY19" fmla="*/ 241658 h 397210"/>
                <a:gd name="connsiteX20" fmla="*/ 37538 w 362849"/>
                <a:gd name="connsiteY20" fmla="*/ 243278 h 397210"/>
                <a:gd name="connsiteX21" fmla="*/ 52206 w 362849"/>
                <a:gd name="connsiteY21" fmla="*/ 254136 h 397210"/>
                <a:gd name="connsiteX22" fmla="*/ 55826 w 362849"/>
                <a:gd name="connsiteY22" fmla="*/ 262994 h 397210"/>
                <a:gd name="connsiteX23" fmla="*/ 53730 w 362849"/>
                <a:gd name="connsiteY23" fmla="*/ 280425 h 397210"/>
                <a:gd name="connsiteX24" fmla="*/ 39728 w 362849"/>
                <a:gd name="connsiteY24" fmla="*/ 298237 h 397210"/>
                <a:gd name="connsiteX25" fmla="*/ 40586 w 362849"/>
                <a:gd name="connsiteY25" fmla="*/ 318811 h 397210"/>
                <a:gd name="connsiteX26" fmla="*/ 77066 w 362849"/>
                <a:gd name="connsiteY26" fmla="*/ 357959 h 397210"/>
                <a:gd name="connsiteX27" fmla="*/ 98974 w 362849"/>
                <a:gd name="connsiteY27" fmla="*/ 359102 h 397210"/>
                <a:gd name="connsiteX28" fmla="*/ 116309 w 362849"/>
                <a:gd name="connsiteY28" fmla="*/ 344147 h 397210"/>
                <a:gd name="connsiteX29" fmla="*/ 134407 w 362849"/>
                <a:gd name="connsiteY29" fmla="*/ 341480 h 397210"/>
                <a:gd name="connsiteX30" fmla="*/ 143265 w 362849"/>
                <a:gd name="connsiteY30" fmla="*/ 345195 h 397210"/>
                <a:gd name="connsiteX31" fmla="*/ 154028 w 362849"/>
                <a:gd name="connsiteY31" fmla="*/ 359006 h 397210"/>
                <a:gd name="connsiteX32" fmla="*/ 156695 w 362849"/>
                <a:gd name="connsiteY32" fmla="*/ 381485 h 397210"/>
                <a:gd name="connsiteX33" fmla="*/ 171840 w 362849"/>
                <a:gd name="connsiteY33" fmla="*/ 395392 h 397210"/>
                <a:gd name="connsiteX34" fmla="*/ 225275 w 362849"/>
                <a:gd name="connsiteY34" fmla="*/ 397202 h 397210"/>
                <a:gd name="connsiteX35" fmla="*/ 241563 w 362849"/>
                <a:gd name="connsiteY35" fmla="*/ 382533 h 397210"/>
                <a:gd name="connsiteX36" fmla="*/ 243182 w 362849"/>
                <a:gd name="connsiteY36" fmla="*/ 359673 h 397210"/>
                <a:gd name="connsiteX37" fmla="*/ 254136 w 362849"/>
                <a:gd name="connsiteY37" fmla="*/ 345005 h 397210"/>
                <a:gd name="connsiteX38" fmla="*/ 262994 w 362849"/>
                <a:gd name="connsiteY38" fmla="*/ 341290 h 397210"/>
                <a:gd name="connsiteX39" fmla="*/ 280425 w 362849"/>
                <a:gd name="connsiteY39" fmla="*/ 343481 h 397210"/>
                <a:gd name="connsiteX40" fmla="*/ 298237 w 362849"/>
                <a:gd name="connsiteY40" fmla="*/ 357482 h 397210"/>
                <a:gd name="connsiteX41" fmla="*/ 318716 w 362849"/>
                <a:gd name="connsiteY41" fmla="*/ 356625 h 397210"/>
                <a:gd name="connsiteX42" fmla="*/ 357863 w 362849"/>
                <a:gd name="connsiteY42" fmla="*/ 320144 h 397210"/>
                <a:gd name="connsiteX43" fmla="*/ 359006 w 362849"/>
                <a:gd name="connsiteY43" fmla="*/ 298237 h 39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62849" h="397210">
                  <a:moveTo>
                    <a:pt x="240420" y="15725"/>
                  </a:moveTo>
                  <a:cubicBezTo>
                    <a:pt x="239468" y="8010"/>
                    <a:pt x="233086" y="2105"/>
                    <a:pt x="225275" y="1819"/>
                  </a:cubicBezTo>
                  <a:lnTo>
                    <a:pt x="171840" y="9"/>
                  </a:lnTo>
                  <a:cubicBezTo>
                    <a:pt x="163363" y="-277"/>
                    <a:pt x="156219" y="6200"/>
                    <a:pt x="155552" y="14678"/>
                  </a:cubicBezTo>
                  <a:lnTo>
                    <a:pt x="153933" y="37538"/>
                  </a:lnTo>
                  <a:cubicBezTo>
                    <a:pt x="153457" y="44110"/>
                    <a:pt x="149171" y="49825"/>
                    <a:pt x="142979" y="52206"/>
                  </a:cubicBezTo>
                  <a:cubicBezTo>
                    <a:pt x="140027" y="53349"/>
                    <a:pt x="136979" y="54587"/>
                    <a:pt x="134121" y="55921"/>
                  </a:cubicBezTo>
                  <a:cubicBezTo>
                    <a:pt x="128406" y="58493"/>
                    <a:pt x="121643" y="57635"/>
                    <a:pt x="116690" y="53730"/>
                  </a:cubicBezTo>
                  <a:lnTo>
                    <a:pt x="98879" y="39728"/>
                  </a:lnTo>
                  <a:cubicBezTo>
                    <a:pt x="92783" y="34871"/>
                    <a:pt x="84020" y="35252"/>
                    <a:pt x="78400" y="40586"/>
                  </a:cubicBezTo>
                  <a:lnTo>
                    <a:pt x="39252" y="77066"/>
                  </a:lnTo>
                  <a:cubicBezTo>
                    <a:pt x="33061" y="82877"/>
                    <a:pt x="32585" y="92497"/>
                    <a:pt x="38109" y="98974"/>
                  </a:cubicBezTo>
                  <a:lnTo>
                    <a:pt x="53063" y="116309"/>
                  </a:lnTo>
                  <a:cubicBezTo>
                    <a:pt x="57445" y="121358"/>
                    <a:pt x="58397" y="128406"/>
                    <a:pt x="55730" y="134407"/>
                  </a:cubicBezTo>
                  <a:cubicBezTo>
                    <a:pt x="54397" y="137360"/>
                    <a:pt x="53159" y="140312"/>
                    <a:pt x="52016" y="143360"/>
                  </a:cubicBezTo>
                  <a:cubicBezTo>
                    <a:pt x="49730" y="149266"/>
                    <a:pt x="44396" y="153362"/>
                    <a:pt x="38204" y="154124"/>
                  </a:cubicBezTo>
                  <a:lnTo>
                    <a:pt x="15725" y="156791"/>
                  </a:lnTo>
                  <a:cubicBezTo>
                    <a:pt x="8010" y="157743"/>
                    <a:pt x="2105" y="164125"/>
                    <a:pt x="1819" y="171935"/>
                  </a:cubicBezTo>
                  <a:lnTo>
                    <a:pt x="9" y="225371"/>
                  </a:lnTo>
                  <a:cubicBezTo>
                    <a:pt x="-277" y="233848"/>
                    <a:pt x="6200" y="241087"/>
                    <a:pt x="14678" y="241658"/>
                  </a:cubicBezTo>
                  <a:lnTo>
                    <a:pt x="37538" y="243278"/>
                  </a:lnTo>
                  <a:cubicBezTo>
                    <a:pt x="44110" y="243754"/>
                    <a:pt x="49825" y="248040"/>
                    <a:pt x="52206" y="254136"/>
                  </a:cubicBezTo>
                  <a:cubicBezTo>
                    <a:pt x="53349" y="257184"/>
                    <a:pt x="54587" y="260137"/>
                    <a:pt x="55826" y="262994"/>
                  </a:cubicBezTo>
                  <a:cubicBezTo>
                    <a:pt x="58397" y="268709"/>
                    <a:pt x="57635" y="275472"/>
                    <a:pt x="53730" y="280425"/>
                  </a:cubicBezTo>
                  <a:lnTo>
                    <a:pt x="39728" y="298237"/>
                  </a:lnTo>
                  <a:cubicBezTo>
                    <a:pt x="34966" y="304333"/>
                    <a:pt x="35252" y="313096"/>
                    <a:pt x="40586" y="318811"/>
                  </a:cubicBezTo>
                  <a:lnTo>
                    <a:pt x="77066" y="357959"/>
                  </a:lnTo>
                  <a:cubicBezTo>
                    <a:pt x="82877" y="364150"/>
                    <a:pt x="92497" y="364626"/>
                    <a:pt x="98974" y="359102"/>
                  </a:cubicBezTo>
                  <a:lnTo>
                    <a:pt x="116309" y="344147"/>
                  </a:lnTo>
                  <a:cubicBezTo>
                    <a:pt x="121358" y="339766"/>
                    <a:pt x="128406" y="338813"/>
                    <a:pt x="134407" y="341480"/>
                  </a:cubicBezTo>
                  <a:cubicBezTo>
                    <a:pt x="137360" y="342814"/>
                    <a:pt x="140312" y="344052"/>
                    <a:pt x="143265" y="345195"/>
                  </a:cubicBezTo>
                  <a:cubicBezTo>
                    <a:pt x="149171" y="347386"/>
                    <a:pt x="153266" y="352720"/>
                    <a:pt x="154028" y="359006"/>
                  </a:cubicBezTo>
                  <a:lnTo>
                    <a:pt x="156695" y="381485"/>
                  </a:lnTo>
                  <a:cubicBezTo>
                    <a:pt x="157648" y="389201"/>
                    <a:pt x="164030" y="395106"/>
                    <a:pt x="171840" y="395392"/>
                  </a:cubicBezTo>
                  <a:lnTo>
                    <a:pt x="225275" y="397202"/>
                  </a:lnTo>
                  <a:cubicBezTo>
                    <a:pt x="233753" y="397487"/>
                    <a:pt x="240896" y="391010"/>
                    <a:pt x="241563" y="382533"/>
                  </a:cubicBezTo>
                  <a:lnTo>
                    <a:pt x="243182" y="359673"/>
                  </a:lnTo>
                  <a:cubicBezTo>
                    <a:pt x="243659" y="353101"/>
                    <a:pt x="247945" y="347386"/>
                    <a:pt x="254136" y="345005"/>
                  </a:cubicBezTo>
                  <a:cubicBezTo>
                    <a:pt x="257089" y="343862"/>
                    <a:pt x="260137" y="342623"/>
                    <a:pt x="262994" y="341290"/>
                  </a:cubicBezTo>
                  <a:cubicBezTo>
                    <a:pt x="268709" y="338718"/>
                    <a:pt x="275472" y="339575"/>
                    <a:pt x="280425" y="343481"/>
                  </a:cubicBezTo>
                  <a:lnTo>
                    <a:pt x="298237" y="357482"/>
                  </a:lnTo>
                  <a:cubicBezTo>
                    <a:pt x="304333" y="362340"/>
                    <a:pt x="313096" y="361959"/>
                    <a:pt x="318716" y="356625"/>
                  </a:cubicBezTo>
                  <a:lnTo>
                    <a:pt x="357863" y="320144"/>
                  </a:lnTo>
                  <a:cubicBezTo>
                    <a:pt x="364055" y="314334"/>
                    <a:pt x="364531" y="304714"/>
                    <a:pt x="359006" y="298237"/>
                  </a:cubicBez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1A27B51-4C5C-1378-90B7-AE80D480AD40}"/>
                </a:ext>
              </a:extLst>
            </p:cNvPr>
            <p:cNvSpPr/>
            <p:nvPr/>
          </p:nvSpPr>
          <p:spPr>
            <a:xfrm>
              <a:off x="10720947" y="1511517"/>
              <a:ext cx="324443" cy="324437"/>
            </a:xfrm>
            <a:custGeom>
              <a:avLst/>
              <a:gdLst>
                <a:gd name="connsiteX0" fmla="*/ 312621 w 324443"/>
                <a:gd name="connsiteY0" fmla="*/ 127069 h 324437"/>
                <a:gd name="connsiteX1" fmla="*/ 293952 w 324443"/>
                <a:gd name="connsiteY1" fmla="*/ 125735 h 324437"/>
                <a:gd name="connsiteX2" fmla="*/ 281951 w 324443"/>
                <a:gd name="connsiteY2" fmla="*/ 116877 h 324437"/>
                <a:gd name="connsiteX3" fmla="*/ 278903 w 324443"/>
                <a:gd name="connsiteY3" fmla="*/ 109638 h 324437"/>
                <a:gd name="connsiteX4" fmla="*/ 280617 w 324443"/>
                <a:gd name="connsiteY4" fmla="*/ 95446 h 324437"/>
                <a:gd name="connsiteX5" fmla="*/ 292047 w 324443"/>
                <a:gd name="connsiteY5" fmla="*/ 80872 h 324437"/>
                <a:gd name="connsiteX6" fmla="*/ 291381 w 324443"/>
                <a:gd name="connsiteY6" fmla="*/ 64108 h 324437"/>
                <a:gd name="connsiteX7" fmla="*/ 261567 w 324443"/>
                <a:gd name="connsiteY7" fmla="*/ 32200 h 324437"/>
                <a:gd name="connsiteX8" fmla="*/ 243660 w 324443"/>
                <a:gd name="connsiteY8" fmla="*/ 31247 h 324437"/>
                <a:gd name="connsiteX9" fmla="*/ 229563 w 324443"/>
                <a:gd name="connsiteY9" fmla="*/ 43439 h 324437"/>
                <a:gd name="connsiteX10" fmla="*/ 214800 w 324443"/>
                <a:gd name="connsiteY10" fmla="*/ 45630 h 324437"/>
                <a:gd name="connsiteX11" fmla="*/ 207561 w 324443"/>
                <a:gd name="connsiteY11" fmla="*/ 42582 h 324437"/>
                <a:gd name="connsiteX12" fmla="*/ 198798 w 324443"/>
                <a:gd name="connsiteY12" fmla="*/ 31247 h 324437"/>
                <a:gd name="connsiteX13" fmla="*/ 196607 w 324443"/>
                <a:gd name="connsiteY13" fmla="*/ 12864 h 324437"/>
                <a:gd name="connsiteX14" fmla="*/ 184224 w 324443"/>
                <a:gd name="connsiteY14" fmla="*/ 1529 h 324437"/>
                <a:gd name="connsiteX15" fmla="*/ 140505 w 324443"/>
                <a:gd name="connsiteY15" fmla="*/ 5 h 324437"/>
                <a:gd name="connsiteX16" fmla="*/ 127170 w 324443"/>
                <a:gd name="connsiteY16" fmla="*/ 12007 h 324437"/>
                <a:gd name="connsiteX17" fmla="*/ 125836 w 324443"/>
                <a:gd name="connsiteY17" fmla="*/ 30676 h 324437"/>
                <a:gd name="connsiteX18" fmla="*/ 116883 w 324443"/>
                <a:gd name="connsiteY18" fmla="*/ 42582 h 324437"/>
                <a:gd name="connsiteX19" fmla="*/ 109644 w 324443"/>
                <a:gd name="connsiteY19" fmla="*/ 45630 h 324437"/>
                <a:gd name="connsiteX20" fmla="*/ 95451 w 324443"/>
                <a:gd name="connsiteY20" fmla="*/ 43915 h 324437"/>
                <a:gd name="connsiteX21" fmla="*/ 80878 w 324443"/>
                <a:gd name="connsiteY21" fmla="*/ 32485 h 324437"/>
                <a:gd name="connsiteX22" fmla="*/ 64114 w 324443"/>
                <a:gd name="connsiteY22" fmla="*/ 33152 h 324437"/>
                <a:gd name="connsiteX23" fmla="*/ 32110 w 324443"/>
                <a:gd name="connsiteY23" fmla="*/ 62965 h 324437"/>
                <a:gd name="connsiteX24" fmla="*/ 31158 w 324443"/>
                <a:gd name="connsiteY24" fmla="*/ 80872 h 324437"/>
                <a:gd name="connsiteX25" fmla="*/ 43445 w 324443"/>
                <a:gd name="connsiteY25" fmla="*/ 95065 h 324437"/>
                <a:gd name="connsiteX26" fmla="*/ 45636 w 324443"/>
                <a:gd name="connsiteY26" fmla="*/ 109828 h 324437"/>
                <a:gd name="connsiteX27" fmla="*/ 42588 w 324443"/>
                <a:gd name="connsiteY27" fmla="*/ 117067 h 324437"/>
                <a:gd name="connsiteX28" fmla="*/ 31253 w 324443"/>
                <a:gd name="connsiteY28" fmla="*/ 125830 h 324437"/>
                <a:gd name="connsiteX29" fmla="*/ 12870 w 324443"/>
                <a:gd name="connsiteY29" fmla="*/ 128021 h 324437"/>
                <a:gd name="connsiteX30" fmla="*/ 1535 w 324443"/>
                <a:gd name="connsiteY30" fmla="*/ 140404 h 324437"/>
                <a:gd name="connsiteX31" fmla="*/ 11 w 324443"/>
                <a:gd name="connsiteY31" fmla="*/ 184028 h 324437"/>
                <a:gd name="connsiteX32" fmla="*/ 11917 w 324443"/>
                <a:gd name="connsiteY32" fmla="*/ 197363 h 324437"/>
                <a:gd name="connsiteX33" fmla="*/ 30586 w 324443"/>
                <a:gd name="connsiteY33" fmla="*/ 198697 h 324437"/>
                <a:gd name="connsiteX34" fmla="*/ 42588 w 324443"/>
                <a:gd name="connsiteY34" fmla="*/ 207555 h 324437"/>
                <a:gd name="connsiteX35" fmla="*/ 45540 w 324443"/>
                <a:gd name="connsiteY35" fmla="*/ 214794 h 324437"/>
                <a:gd name="connsiteX36" fmla="*/ 43826 w 324443"/>
                <a:gd name="connsiteY36" fmla="*/ 228986 h 324437"/>
                <a:gd name="connsiteX37" fmla="*/ 32396 w 324443"/>
                <a:gd name="connsiteY37" fmla="*/ 243559 h 324437"/>
                <a:gd name="connsiteX38" fmla="*/ 33063 w 324443"/>
                <a:gd name="connsiteY38" fmla="*/ 260323 h 324437"/>
                <a:gd name="connsiteX39" fmla="*/ 62876 w 324443"/>
                <a:gd name="connsiteY39" fmla="*/ 292232 h 324437"/>
                <a:gd name="connsiteX40" fmla="*/ 80783 w 324443"/>
                <a:gd name="connsiteY40" fmla="*/ 293185 h 324437"/>
                <a:gd name="connsiteX41" fmla="*/ 94880 w 324443"/>
                <a:gd name="connsiteY41" fmla="*/ 280993 h 324437"/>
                <a:gd name="connsiteX42" fmla="*/ 109644 w 324443"/>
                <a:gd name="connsiteY42" fmla="*/ 278802 h 324437"/>
                <a:gd name="connsiteX43" fmla="*/ 116883 w 324443"/>
                <a:gd name="connsiteY43" fmla="*/ 281850 h 324437"/>
                <a:gd name="connsiteX44" fmla="*/ 125646 w 324443"/>
                <a:gd name="connsiteY44" fmla="*/ 293185 h 324437"/>
                <a:gd name="connsiteX45" fmla="*/ 127836 w 324443"/>
                <a:gd name="connsiteY45" fmla="*/ 311568 h 324437"/>
                <a:gd name="connsiteX46" fmla="*/ 140219 w 324443"/>
                <a:gd name="connsiteY46" fmla="*/ 322903 h 324437"/>
                <a:gd name="connsiteX47" fmla="*/ 183939 w 324443"/>
                <a:gd name="connsiteY47" fmla="*/ 324427 h 324437"/>
                <a:gd name="connsiteX48" fmla="*/ 197274 w 324443"/>
                <a:gd name="connsiteY48" fmla="*/ 312425 h 324437"/>
                <a:gd name="connsiteX49" fmla="*/ 198607 w 324443"/>
                <a:gd name="connsiteY49" fmla="*/ 293756 h 324437"/>
                <a:gd name="connsiteX50" fmla="*/ 207561 w 324443"/>
                <a:gd name="connsiteY50" fmla="*/ 281850 h 324437"/>
                <a:gd name="connsiteX51" fmla="*/ 214800 w 324443"/>
                <a:gd name="connsiteY51" fmla="*/ 278802 h 324437"/>
                <a:gd name="connsiteX52" fmla="*/ 228992 w 324443"/>
                <a:gd name="connsiteY52" fmla="*/ 280516 h 324437"/>
                <a:gd name="connsiteX53" fmla="*/ 243565 w 324443"/>
                <a:gd name="connsiteY53" fmla="*/ 291946 h 324437"/>
                <a:gd name="connsiteX54" fmla="*/ 260329 w 324443"/>
                <a:gd name="connsiteY54" fmla="*/ 291280 h 324437"/>
                <a:gd name="connsiteX55" fmla="*/ 292333 w 324443"/>
                <a:gd name="connsiteY55" fmla="*/ 261466 h 324437"/>
                <a:gd name="connsiteX56" fmla="*/ 293286 w 324443"/>
                <a:gd name="connsiteY56" fmla="*/ 243559 h 324437"/>
                <a:gd name="connsiteX57" fmla="*/ 280998 w 324443"/>
                <a:gd name="connsiteY57" fmla="*/ 229367 h 324437"/>
                <a:gd name="connsiteX58" fmla="*/ 278808 w 324443"/>
                <a:gd name="connsiteY58" fmla="*/ 214603 h 324437"/>
                <a:gd name="connsiteX59" fmla="*/ 281856 w 324443"/>
                <a:gd name="connsiteY59" fmla="*/ 207364 h 324437"/>
                <a:gd name="connsiteX60" fmla="*/ 293190 w 324443"/>
                <a:gd name="connsiteY60" fmla="*/ 198601 h 324437"/>
                <a:gd name="connsiteX61" fmla="*/ 311574 w 324443"/>
                <a:gd name="connsiteY61" fmla="*/ 196411 h 324437"/>
                <a:gd name="connsiteX62" fmla="*/ 322908 w 324443"/>
                <a:gd name="connsiteY62" fmla="*/ 184028 h 324437"/>
                <a:gd name="connsiteX63" fmla="*/ 324432 w 324443"/>
                <a:gd name="connsiteY63" fmla="*/ 140404 h 324437"/>
                <a:gd name="connsiteX64" fmla="*/ 312526 w 324443"/>
                <a:gd name="connsiteY64" fmla="*/ 127069 h 32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24443" h="324437">
                  <a:moveTo>
                    <a:pt x="312621" y="127069"/>
                  </a:moveTo>
                  <a:lnTo>
                    <a:pt x="293952" y="125735"/>
                  </a:lnTo>
                  <a:cubicBezTo>
                    <a:pt x="288523" y="125354"/>
                    <a:pt x="283951" y="121830"/>
                    <a:pt x="281951" y="116877"/>
                  </a:cubicBezTo>
                  <a:cubicBezTo>
                    <a:pt x="280998" y="114400"/>
                    <a:pt x="280046" y="112019"/>
                    <a:pt x="278903" y="109638"/>
                  </a:cubicBezTo>
                  <a:cubicBezTo>
                    <a:pt x="276807" y="104971"/>
                    <a:pt x="277474" y="99446"/>
                    <a:pt x="280617" y="95446"/>
                  </a:cubicBezTo>
                  <a:lnTo>
                    <a:pt x="292047" y="80872"/>
                  </a:lnTo>
                  <a:cubicBezTo>
                    <a:pt x="295953" y="75824"/>
                    <a:pt x="295667" y="68776"/>
                    <a:pt x="291381" y="64108"/>
                  </a:cubicBezTo>
                  <a:lnTo>
                    <a:pt x="261567" y="32200"/>
                  </a:lnTo>
                  <a:cubicBezTo>
                    <a:pt x="256805" y="27151"/>
                    <a:pt x="248994" y="26675"/>
                    <a:pt x="243660" y="31247"/>
                  </a:cubicBezTo>
                  <a:lnTo>
                    <a:pt x="229563" y="43439"/>
                  </a:lnTo>
                  <a:cubicBezTo>
                    <a:pt x="225468" y="46963"/>
                    <a:pt x="219753" y="47821"/>
                    <a:pt x="214800" y="45630"/>
                  </a:cubicBezTo>
                  <a:cubicBezTo>
                    <a:pt x="212418" y="44582"/>
                    <a:pt x="210037" y="43534"/>
                    <a:pt x="207561" y="42582"/>
                  </a:cubicBezTo>
                  <a:cubicBezTo>
                    <a:pt x="202703" y="40772"/>
                    <a:pt x="199369" y="36391"/>
                    <a:pt x="198798" y="31247"/>
                  </a:cubicBezTo>
                  <a:lnTo>
                    <a:pt x="196607" y="12864"/>
                  </a:lnTo>
                  <a:cubicBezTo>
                    <a:pt x="195845" y="6577"/>
                    <a:pt x="190606" y="1720"/>
                    <a:pt x="184224" y="1529"/>
                  </a:cubicBezTo>
                  <a:lnTo>
                    <a:pt x="140505" y="5"/>
                  </a:lnTo>
                  <a:cubicBezTo>
                    <a:pt x="133551" y="-185"/>
                    <a:pt x="127741" y="5053"/>
                    <a:pt x="127170" y="12007"/>
                  </a:cubicBezTo>
                  <a:lnTo>
                    <a:pt x="125836" y="30676"/>
                  </a:lnTo>
                  <a:cubicBezTo>
                    <a:pt x="125455" y="36010"/>
                    <a:pt x="121931" y="40677"/>
                    <a:pt x="116883" y="42582"/>
                  </a:cubicBezTo>
                  <a:cubicBezTo>
                    <a:pt x="114406" y="43534"/>
                    <a:pt x="112025" y="44487"/>
                    <a:pt x="109644" y="45630"/>
                  </a:cubicBezTo>
                  <a:cubicBezTo>
                    <a:pt x="104976" y="47725"/>
                    <a:pt x="99452" y="47059"/>
                    <a:pt x="95451" y="43915"/>
                  </a:cubicBezTo>
                  <a:lnTo>
                    <a:pt x="80878" y="32485"/>
                  </a:lnTo>
                  <a:cubicBezTo>
                    <a:pt x="75925" y="28580"/>
                    <a:pt x="68781" y="28866"/>
                    <a:pt x="64114" y="33152"/>
                  </a:cubicBezTo>
                  <a:lnTo>
                    <a:pt x="32110" y="62965"/>
                  </a:lnTo>
                  <a:cubicBezTo>
                    <a:pt x="27062" y="67728"/>
                    <a:pt x="26586" y="75634"/>
                    <a:pt x="31158" y="80872"/>
                  </a:cubicBezTo>
                  <a:lnTo>
                    <a:pt x="43445" y="95065"/>
                  </a:lnTo>
                  <a:cubicBezTo>
                    <a:pt x="46969" y="99160"/>
                    <a:pt x="47826" y="104875"/>
                    <a:pt x="45636" y="109828"/>
                  </a:cubicBezTo>
                  <a:cubicBezTo>
                    <a:pt x="44588" y="112210"/>
                    <a:pt x="43540" y="114591"/>
                    <a:pt x="42588" y="117067"/>
                  </a:cubicBezTo>
                  <a:cubicBezTo>
                    <a:pt x="40778" y="121830"/>
                    <a:pt x="36396" y="125259"/>
                    <a:pt x="31253" y="125830"/>
                  </a:cubicBezTo>
                  <a:lnTo>
                    <a:pt x="12870" y="128021"/>
                  </a:lnTo>
                  <a:cubicBezTo>
                    <a:pt x="6583" y="128783"/>
                    <a:pt x="1725" y="134022"/>
                    <a:pt x="1535" y="140404"/>
                  </a:cubicBezTo>
                  <a:lnTo>
                    <a:pt x="11" y="184028"/>
                  </a:lnTo>
                  <a:cubicBezTo>
                    <a:pt x="-275" y="190981"/>
                    <a:pt x="5059" y="196792"/>
                    <a:pt x="11917" y="197363"/>
                  </a:cubicBezTo>
                  <a:lnTo>
                    <a:pt x="30586" y="198697"/>
                  </a:lnTo>
                  <a:cubicBezTo>
                    <a:pt x="35920" y="199078"/>
                    <a:pt x="40587" y="202602"/>
                    <a:pt x="42588" y="207555"/>
                  </a:cubicBezTo>
                  <a:cubicBezTo>
                    <a:pt x="43540" y="210031"/>
                    <a:pt x="44493" y="212413"/>
                    <a:pt x="45540" y="214794"/>
                  </a:cubicBezTo>
                  <a:cubicBezTo>
                    <a:pt x="47636" y="219461"/>
                    <a:pt x="46969" y="224986"/>
                    <a:pt x="43826" y="228986"/>
                  </a:cubicBezTo>
                  <a:lnTo>
                    <a:pt x="32396" y="243559"/>
                  </a:lnTo>
                  <a:cubicBezTo>
                    <a:pt x="28491" y="248608"/>
                    <a:pt x="28776" y="255656"/>
                    <a:pt x="33063" y="260323"/>
                  </a:cubicBezTo>
                  <a:lnTo>
                    <a:pt x="62876" y="292232"/>
                  </a:lnTo>
                  <a:cubicBezTo>
                    <a:pt x="67638" y="297280"/>
                    <a:pt x="75449" y="297757"/>
                    <a:pt x="80783" y="293185"/>
                  </a:cubicBezTo>
                  <a:lnTo>
                    <a:pt x="94880" y="280993"/>
                  </a:lnTo>
                  <a:cubicBezTo>
                    <a:pt x="98976" y="277468"/>
                    <a:pt x="104691" y="276611"/>
                    <a:pt x="109644" y="278802"/>
                  </a:cubicBezTo>
                  <a:cubicBezTo>
                    <a:pt x="112025" y="279850"/>
                    <a:pt x="114406" y="280897"/>
                    <a:pt x="116883" y="281850"/>
                  </a:cubicBezTo>
                  <a:cubicBezTo>
                    <a:pt x="121645" y="283660"/>
                    <a:pt x="125074" y="288041"/>
                    <a:pt x="125646" y="293185"/>
                  </a:cubicBezTo>
                  <a:lnTo>
                    <a:pt x="127836" y="311568"/>
                  </a:lnTo>
                  <a:cubicBezTo>
                    <a:pt x="128598" y="317854"/>
                    <a:pt x="133837" y="322712"/>
                    <a:pt x="140219" y="322903"/>
                  </a:cubicBezTo>
                  <a:lnTo>
                    <a:pt x="183939" y="324427"/>
                  </a:lnTo>
                  <a:cubicBezTo>
                    <a:pt x="190892" y="324712"/>
                    <a:pt x="196702" y="319378"/>
                    <a:pt x="197274" y="312425"/>
                  </a:cubicBezTo>
                  <a:lnTo>
                    <a:pt x="198607" y="293756"/>
                  </a:lnTo>
                  <a:cubicBezTo>
                    <a:pt x="198988" y="288422"/>
                    <a:pt x="202512" y="283755"/>
                    <a:pt x="207561" y="281850"/>
                  </a:cubicBezTo>
                  <a:cubicBezTo>
                    <a:pt x="210037" y="280897"/>
                    <a:pt x="212418" y="279945"/>
                    <a:pt x="214800" y="278802"/>
                  </a:cubicBezTo>
                  <a:cubicBezTo>
                    <a:pt x="219467" y="276706"/>
                    <a:pt x="224991" y="277373"/>
                    <a:pt x="228992" y="280516"/>
                  </a:cubicBezTo>
                  <a:lnTo>
                    <a:pt x="243565" y="291946"/>
                  </a:lnTo>
                  <a:cubicBezTo>
                    <a:pt x="248518" y="295852"/>
                    <a:pt x="255662" y="295566"/>
                    <a:pt x="260329" y="291280"/>
                  </a:cubicBezTo>
                  <a:lnTo>
                    <a:pt x="292333" y="261466"/>
                  </a:lnTo>
                  <a:cubicBezTo>
                    <a:pt x="297381" y="256704"/>
                    <a:pt x="297858" y="248798"/>
                    <a:pt x="293286" y="243559"/>
                  </a:cubicBezTo>
                  <a:lnTo>
                    <a:pt x="280998" y="229367"/>
                  </a:lnTo>
                  <a:cubicBezTo>
                    <a:pt x="277474" y="225271"/>
                    <a:pt x="276617" y="219556"/>
                    <a:pt x="278808" y="214603"/>
                  </a:cubicBezTo>
                  <a:cubicBezTo>
                    <a:pt x="279855" y="212222"/>
                    <a:pt x="280903" y="209841"/>
                    <a:pt x="281856" y="207364"/>
                  </a:cubicBezTo>
                  <a:cubicBezTo>
                    <a:pt x="283665" y="202602"/>
                    <a:pt x="288047" y="199173"/>
                    <a:pt x="293190" y="198601"/>
                  </a:cubicBezTo>
                  <a:lnTo>
                    <a:pt x="311574" y="196411"/>
                  </a:lnTo>
                  <a:cubicBezTo>
                    <a:pt x="317860" y="195649"/>
                    <a:pt x="322718" y="190410"/>
                    <a:pt x="322908" y="184028"/>
                  </a:cubicBezTo>
                  <a:lnTo>
                    <a:pt x="324432" y="140404"/>
                  </a:lnTo>
                  <a:cubicBezTo>
                    <a:pt x="324718" y="133450"/>
                    <a:pt x="319384" y="127640"/>
                    <a:pt x="312526" y="127069"/>
                  </a:cubicBez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9E71610-781F-8748-DC08-8E0592D06799}"/>
              </a:ext>
            </a:extLst>
          </p:cNvPr>
          <p:cNvSpPr txBox="1"/>
          <p:nvPr/>
        </p:nvSpPr>
        <p:spPr>
          <a:xfrm>
            <a:off x="4788586" y="3176885"/>
            <a:ext cx="2226651" cy="21977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dirty="0"/>
              <a:t>Azure AD Application Prox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5B5DFB-A4DF-8B18-85C7-2F853F6BA8B4}"/>
              </a:ext>
            </a:extLst>
          </p:cNvPr>
          <p:cNvSpPr txBox="1"/>
          <p:nvPr/>
        </p:nvSpPr>
        <p:spPr>
          <a:xfrm>
            <a:off x="4779021" y="4068007"/>
            <a:ext cx="1685916" cy="21977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dirty="0"/>
              <a:t>Authentication (ST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59021C-0282-C31D-BDC7-33F559878647}"/>
              </a:ext>
            </a:extLst>
          </p:cNvPr>
          <p:cNvSpPr txBox="1"/>
          <p:nvPr/>
        </p:nvSpPr>
        <p:spPr>
          <a:xfrm>
            <a:off x="2865935" y="2471975"/>
            <a:ext cx="2579859" cy="21977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dirty="0"/>
              <a:t>Microsoft Azure Active Director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0CAE05A-3C8F-7232-5EB2-7AA9DE087917}"/>
              </a:ext>
            </a:extLst>
          </p:cNvPr>
          <p:cNvSpPr txBox="1"/>
          <p:nvPr/>
        </p:nvSpPr>
        <p:spPr>
          <a:xfrm>
            <a:off x="8702745" y="3686646"/>
            <a:ext cx="894468" cy="87909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dirty="0"/>
              <a:t>Azure AD</a:t>
            </a:r>
            <a:br>
              <a:rPr lang="en-US" sz="1400" dirty="0"/>
            </a:br>
            <a:r>
              <a:rPr lang="en-US" sz="1400" dirty="0"/>
              <a:t>Application</a:t>
            </a:r>
            <a:br>
              <a:rPr lang="en-US" sz="1400" dirty="0"/>
            </a:br>
            <a:r>
              <a:rPr lang="en-US" sz="1400" dirty="0"/>
              <a:t>Proxy</a:t>
            </a:r>
            <a:br>
              <a:rPr lang="en-US" sz="1400" dirty="0"/>
            </a:br>
            <a:r>
              <a:rPr lang="en-US" sz="1400" dirty="0"/>
              <a:t>Connector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DD4E2E23-6B50-E757-2242-1740BD0D13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260" t="11655" r="3818" b="4253"/>
          <a:stretch/>
        </p:blipFill>
        <p:spPr>
          <a:xfrm>
            <a:off x="9968504" y="1840819"/>
            <a:ext cx="445577" cy="44645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5F868CD1-D991-038C-470C-5CAA61929537}"/>
              </a:ext>
            </a:extLst>
          </p:cNvPr>
          <p:cNvSpPr txBox="1"/>
          <p:nvPr/>
        </p:nvSpPr>
        <p:spPr>
          <a:xfrm>
            <a:off x="8000860" y="2073737"/>
            <a:ext cx="395724" cy="21977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dirty="0"/>
              <a:t>DMZ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0536082-7BB7-DF29-FD2B-4D4265807685}"/>
              </a:ext>
            </a:extLst>
          </p:cNvPr>
          <p:cNvSpPr>
            <a:spLocks noChangeAspect="1"/>
          </p:cNvSpPr>
          <p:nvPr/>
        </p:nvSpPr>
        <p:spPr>
          <a:xfrm>
            <a:off x="7622131" y="2811602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8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85C80D8-D19E-3304-A156-44CA7A6CC842}"/>
              </a:ext>
            </a:extLst>
          </p:cNvPr>
          <p:cNvSpPr>
            <a:spLocks noChangeAspect="1"/>
          </p:cNvSpPr>
          <p:nvPr/>
        </p:nvSpPr>
        <p:spPr>
          <a:xfrm>
            <a:off x="7622131" y="3319191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4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2DBB502-6759-4C0D-BCE6-4F2F70133D74}"/>
              </a:ext>
            </a:extLst>
          </p:cNvPr>
          <p:cNvSpPr>
            <a:spLocks noChangeAspect="1"/>
          </p:cNvSpPr>
          <p:nvPr/>
        </p:nvSpPr>
        <p:spPr>
          <a:xfrm>
            <a:off x="9422840" y="2988875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59F9DF-D59D-20DA-558E-1FBA8965D79D}"/>
              </a:ext>
            </a:extLst>
          </p:cNvPr>
          <p:cNvSpPr>
            <a:spLocks noChangeAspect="1"/>
          </p:cNvSpPr>
          <p:nvPr/>
        </p:nvSpPr>
        <p:spPr>
          <a:xfrm>
            <a:off x="10068857" y="3696595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5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8A0630F-5CB9-7922-F659-D37A44493100}"/>
              </a:ext>
            </a:extLst>
          </p:cNvPr>
          <p:cNvSpPr>
            <a:spLocks noChangeAspect="1"/>
          </p:cNvSpPr>
          <p:nvPr/>
        </p:nvSpPr>
        <p:spPr>
          <a:xfrm>
            <a:off x="10364425" y="3388233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6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F0E6C01-CF47-EC50-B853-853BD9C1ACB5}"/>
              </a:ext>
            </a:extLst>
          </p:cNvPr>
          <p:cNvSpPr>
            <a:spLocks noChangeAspect="1"/>
          </p:cNvSpPr>
          <p:nvPr/>
        </p:nvSpPr>
        <p:spPr>
          <a:xfrm>
            <a:off x="2708709" y="3331368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3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7BCFFC0-BA97-FDF7-024F-F6CC80D0BED3}"/>
              </a:ext>
            </a:extLst>
          </p:cNvPr>
          <p:cNvSpPr>
            <a:spLocks noChangeAspect="1"/>
          </p:cNvSpPr>
          <p:nvPr/>
        </p:nvSpPr>
        <p:spPr>
          <a:xfrm>
            <a:off x="2951198" y="3667032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2454ED5-670A-ED6E-A089-14832098D703}"/>
              </a:ext>
            </a:extLst>
          </p:cNvPr>
          <p:cNvSpPr>
            <a:spLocks noChangeAspect="1"/>
          </p:cNvSpPr>
          <p:nvPr/>
        </p:nvSpPr>
        <p:spPr>
          <a:xfrm>
            <a:off x="2767708" y="4204454"/>
            <a:ext cx="297212" cy="2972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B196462-D4B3-89E2-D199-7C2F039BB5C6}"/>
              </a:ext>
            </a:extLst>
          </p:cNvPr>
          <p:cNvGrpSpPr>
            <a:grpSpLocks noChangeAspect="1"/>
          </p:cNvGrpSpPr>
          <p:nvPr/>
        </p:nvGrpSpPr>
        <p:grpSpPr>
          <a:xfrm>
            <a:off x="1622810" y="4344332"/>
            <a:ext cx="251488" cy="462682"/>
            <a:chOff x="1604766" y="3134137"/>
            <a:chExt cx="328136" cy="603694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55A3D396-EDF8-C376-9280-709BCC5FD008}"/>
                </a:ext>
              </a:extLst>
            </p:cNvPr>
            <p:cNvSpPr/>
            <p:nvPr/>
          </p:nvSpPr>
          <p:spPr>
            <a:xfrm>
              <a:off x="1604766" y="3134137"/>
              <a:ext cx="328041" cy="603694"/>
            </a:xfrm>
            <a:custGeom>
              <a:avLst/>
              <a:gdLst>
                <a:gd name="connsiteX0" fmla="*/ 302705 w 328041"/>
                <a:gd name="connsiteY0" fmla="*/ 0 h 603694"/>
                <a:gd name="connsiteX1" fmla="*/ 328041 w 328041"/>
                <a:gd name="connsiteY1" fmla="*/ 25336 h 603694"/>
                <a:gd name="connsiteX2" fmla="*/ 328041 w 328041"/>
                <a:gd name="connsiteY2" fmla="*/ 578358 h 603694"/>
                <a:gd name="connsiteX3" fmla="*/ 302705 w 328041"/>
                <a:gd name="connsiteY3" fmla="*/ 603695 h 603694"/>
                <a:gd name="connsiteX4" fmla="*/ 25336 w 328041"/>
                <a:gd name="connsiteY4" fmla="*/ 603695 h 603694"/>
                <a:gd name="connsiteX5" fmla="*/ 0 w 328041"/>
                <a:gd name="connsiteY5" fmla="*/ 578358 h 603694"/>
                <a:gd name="connsiteX6" fmla="*/ 0 w 328041"/>
                <a:gd name="connsiteY6" fmla="*/ 25336 h 603694"/>
                <a:gd name="connsiteX7" fmla="*/ 25336 w 328041"/>
                <a:gd name="connsiteY7" fmla="*/ 0 h 60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41" h="603694">
                  <a:moveTo>
                    <a:pt x="302705" y="0"/>
                  </a:moveTo>
                  <a:cubicBezTo>
                    <a:pt x="316697" y="0"/>
                    <a:pt x="328041" y="11344"/>
                    <a:pt x="328041" y="25336"/>
                  </a:cubicBezTo>
                  <a:lnTo>
                    <a:pt x="328041" y="578358"/>
                  </a:lnTo>
                  <a:cubicBezTo>
                    <a:pt x="328041" y="592351"/>
                    <a:pt x="316697" y="603695"/>
                    <a:pt x="302705" y="603695"/>
                  </a:cubicBezTo>
                  <a:lnTo>
                    <a:pt x="25336" y="603695"/>
                  </a:lnTo>
                  <a:cubicBezTo>
                    <a:pt x="11344" y="603695"/>
                    <a:pt x="0" y="592351"/>
                    <a:pt x="0" y="578358"/>
                  </a:cubicBezTo>
                  <a:lnTo>
                    <a:pt x="0" y="25336"/>
                  </a:lnTo>
                  <a:cubicBezTo>
                    <a:pt x="0" y="11344"/>
                    <a:pt x="11344" y="0"/>
                    <a:pt x="25336" y="0"/>
                  </a:cubicBez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2B38479-8B84-67D6-4954-98023E318A74}"/>
                </a:ext>
              </a:extLst>
            </p:cNvPr>
            <p:cNvSpPr/>
            <p:nvPr/>
          </p:nvSpPr>
          <p:spPr>
            <a:xfrm>
              <a:off x="1604766" y="3198907"/>
              <a:ext cx="328136" cy="9525"/>
            </a:xfrm>
            <a:custGeom>
              <a:avLst/>
              <a:gdLst>
                <a:gd name="connsiteX0" fmla="*/ 0 w 328136"/>
                <a:gd name="connsiteY0" fmla="*/ 0 h 9525"/>
                <a:gd name="connsiteX1" fmla="*/ 328136 w 32813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136" h="9525">
                  <a:moveTo>
                    <a:pt x="0" y="0"/>
                  </a:moveTo>
                  <a:lnTo>
                    <a:pt x="328136" y="0"/>
                  </a:lnTo>
                </a:path>
              </a:pathLst>
            </a:custGeom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3B41445-B196-0E8F-87AD-BA02E0726363}"/>
                </a:ext>
              </a:extLst>
            </p:cNvPr>
            <p:cNvSpPr/>
            <p:nvPr/>
          </p:nvSpPr>
          <p:spPr>
            <a:xfrm>
              <a:off x="1604766" y="3666871"/>
              <a:ext cx="328136" cy="9525"/>
            </a:xfrm>
            <a:custGeom>
              <a:avLst/>
              <a:gdLst>
                <a:gd name="connsiteX0" fmla="*/ 0 w 328136"/>
                <a:gd name="connsiteY0" fmla="*/ 0 h 9525"/>
                <a:gd name="connsiteX1" fmla="*/ 328136 w 32813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136" h="9525">
                  <a:moveTo>
                    <a:pt x="0" y="0"/>
                  </a:moveTo>
                  <a:lnTo>
                    <a:pt x="328136" y="0"/>
                  </a:lnTo>
                </a:path>
              </a:pathLst>
            </a:custGeom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2540C79C-D7DC-ECCA-6025-52E5A8121ECA}"/>
                </a:ext>
              </a:extLst>
            </p:cNvPr>
            <p:cNvSpPr/>
            <p:nvPr/>
          </p:nvSpPr>
          <p:spPr>
            <a:xfrm>
              <a:off x="1755927" y="3687921"/>
              <a:ext cx="25717" cy="25717"/>
            </a:xfrm>
            <a:custGeom>
              <a:avLst/>
              <a:gdLst>
                <a:gd name="connsiteX0" fmla="*/ 25717 w 25717"/>
                <a:gd name="connsiteY0" fmla="*/ 12859 h 25717"/>
                <a:gd name="connsiteX1" fmla="*/ 12859 w 25717"/>
                <a:gd name="connsiteY1" fmla="*/ 25718 h 25717"/>
                <a:gd name="connsiteX2" fmla="*/ 0 w 25717"/>
                <a:gd name="connsiteY2" fmla="*/ 12859 h 25717"/>
                <a:gd name="connsiteX3" fmla="*/ 12859 w 25717"/>
                <a:gd name="connsiteY3" fmla="*/ 0 h 25717"/>
                <a:gd name="connsiteX4" fmla="*/ 25717 w 25717"/>
                <a:gd name="connsiteY4" fmla="*/ 12859 h 2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17" h="25717">
                  <a:moveTo>
                    <a:pt x="25717" y="12859"/>
                  </a:moveTo>
                  <a:cubicBezTo>
                    <a:pt x="25717" y="19960"/>
                    <a:pt x="19960" y="25718"/>
                    <a:pt x="12859" y="25718"/>
                  </a:cubicBezTo>
                  <a:cubicBezTo>
                    <a:pt x="5757" y="25718"/>
                    <a:pt x="0" y="19960"/>
                    <a:pt x="0" y="12859"/>
                  </a:cubicBezTo>
                  <a:cubicBezTo>
                    <a:pt x="0" y="5757"/>
                    <a:pt x="5757" y="0"/>
                    <a:pt x="12859" y="0"/>
                  </a:cubicBezTo>
                  <a:cubicBezTo>
                    <a:pt x="19960" y="0"/>
                    <a:pt x="25717" y="5757"/>
                    <a:pt x="25717" y="12859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9EDB7D4-E208-358B-1CCF-7ACC2616DE0A}"/>
              </a:ext>
            </a:extLst>
          </p:cNvPr>
          <p:cNvGrpSpPr>
            <a:grpSpLocks noChangeAspect="1"/>
          </p:cNvGrpSpPr>
          <p:nvPr/>
        </p:nvGrpSpPr>
        <p:grpSpPr>
          <a:xfrm>
            <a:off x="1246742" y="3470196"/>
            <a:ext cx="522940" cy="736907"/>
            <a:chOff x="6659334" y="5280740"/>
            <a:chExt cx="197643" cy="278511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7A3B1EF-9922-D0E6-7C71-F8DB773C25AB}"/>
                </a:ext>
              </a:extLst>
            </p:cNvPr>
            <p:cNvSpPr/>
            <p:nvPr/>
          </p:nvSpPr>
          <p:spPr>
            <a:xfrm>
              <a:off x="6690290" y="5280740"/>
              <a:ext cx="135731" cy="133350"/>
            </a:xfrm>
            <a:custGeom>
              <a:avLst/>
              <a:gdLst>
                <a:gd name="connsiteX0" fmla="*/ 135731 w 135731"/>
                <a:gd name="connsiteY0" fmla="*/ 66675 h 133350"/>
                <a:gd name="connsiteX1" fmla="*/ 66675 w 135731"/>
                <a:gd name="connsiteY1" fmla="*/ 133350 h 133350"/>
                <a:gd name="connsiteX2" fmla="*/ 0 w 135731"/>
                <a:gd name="connsiteY2" fmla="*/ 66675 h 133350"/>
                <a:gd name="connsiteX3" fmla="*/ 66675 w 135731"/>
                <a:gd name="connsiteY3" fmla="*/ 0 h 133350"/>
                <a:gd name="connsiteX4" fmla="*/ 135731 w 135731"/>
                <a:gd name="connsiteY4" fmla="*/ 66675 h 133350"/>
                <a:gd name="connsiteX5" fmla="*/ 135731 w 135731"/>
                <a:gd name="connsiteY5" fmla="*/ 666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731" h="133350">
                  <a:moveTo>
                    <a:pt x="135731" y="66675"/>
                  </a:moveTo>
                  <a:cubicBezTo>
                    <a:pt x="135731" y="104775"/>
                    <a:pt x="104775" y="133350"/>
                    <a:pt x="66675" y="133350"/>
                  </a:cubicBezTo>
                  <a:cubicBezTo>
                    <a:pt x="30956" y="133350"/>
                    <a:pt x="0" y="104775"/>
                    <a:pt x="0" y="66675"/>
                  </a:cubicBezTo>
                  <a:cubicBezTo>
                    <a:pt x="0" y="30956"/>
                    <a:pt x="30956" y="0"/>
                    <a:pt x="66675" y="0"/>
                  </a:cubicBezTo>
                  <a:cubicBezTo>
                    <a:pt x="104775" y="0"/>
                    <a:pt x="135731" y="30956"/>
                    <a:pt x="135731" y="66675"/>
                  </a:cubicBezTo>
                  <a:lnTo>
                    <a:pt x="135731" y="66675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5C768BB-3F1C-BE0A-24D2-7055B3858783}"/>
                </a:ext>
              </a:extLst>
            </p:cNvPr>
            <p:cNvSpPr/>
            <p:nvPr/>
          </p:nvSpPr>
          <p:spPr>
            <a:xfrm>
              <a:off x="6659334" y="5459239"/>
              <a:ext cx="197643" cy="100012"/>
            </a:xfrm>
            <a:custGeom>
              <a:avLst/>
              <a:gdLst>
                <a:gd name="connsiteX0" fmla="*/ 197644 w 197643"/>
                <a:gd name="connsiteY0" fmla="*/ 100013 h 100012"/>
                <a:gd name="connsiteX1" fmla="*/ 197644 w 197643"/>
                <a:gd name="connsiteY1" fmla="*/ 71438 h 100012"/>
                <a:gd name="connsiteX2" fmla="*/ 128588 w 197643"/>
                <a:gd name="connsiteY2" fmla="*/ 0 h 100012"/>
                <a:gd name="connsiteX3" fmla="*/ 71438 w 197643"/>
                <a:gd name="connsiteY3" fmla="*/ 0 h 100012"/>
                <a:gd name="connsiteX4" fmla="*/ 0 w 197643"/>
                <a:gd name="connsiteY4" fmla="*/ 71438 h 100012"/>
                <a:gd name="connsiteX5" fmla="*/ 0 w 197643"/>
                <a:gd name="connsiteY5" fmla="*/ 100013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643" h="100012">
                  <a:moveTo>
                    <a:pt x="197644" y="100013"/>
                  </a:moveTo>
                  <a:lnTo>
                    <a:pt x="197644" y="71438"/>
                  </a:lnTo>
                  <a:cubicBezTo>
                    <a:pt x="197644" y="33338"/>
                    <a:pt x="166688" y="0"/>
                    <a:pt x="128588" y="0"/>
                  </a:cubicBezTo>
                  <a:lnTo>
                    <a:pt x="71438" y="0"/>
                  </a:lnTo>
                  <a:cubicBezTo>
                    <a:pt x="30956" y="0"/>
                    <a:pt x="0" y="30956"/>
                    <a:pt x="0" y="71438"/>
                  </a:cubicBezTo>
                  <a:lnTo>
                    <a:pt x="0" y="100013"/>
                  </a:ln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31F2F9A-15DA-12FC-6244-8D5A63C86909}"/>
              </a:ext>
            </a:extLst>
          </p:cNvPr>
          <p:cNvGrpSpPr>
            <a:grpSpLocks noChangeAspect="1"/>
          </p:cNvGrpSpPr>
          <p:nvPr/>
        </p:nvGrpSpPr>
        <p:grpSpPr>
          <a:xfrm>
            <a:off x="1035712" y="4349827"/>
            <a:ext cx="464140" cy="388511"/>
            <a:chOff x="7853205" y="1410284"/>
            <a:chExt cx="605599" cy="506920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EE1578B-6722-DC79-A020-6B63CCC10D8A}"/>
                </a:ext>
              </a:extLst>
            </p:cNvPr>
            <p:cNvSpPr/>
            <p:nvPr/>
          </p:nvSpPr>
          <p:spPr>
            <a:xfrm>
              <a:off x="7907307" y="1410284"/>
              <a:ext cx="501586" cy="324992"/>
            </a:xfrm>
            <a:custGeom>
              <a:avLst/>
              <a:gdLst>
                <a:gd name="connsiteX0" fmla="*/ 501587 w 501586"/>
                <a:gd name="connsiteY0" fmla="*/ 324993 h 324992"/>
                <a:gd name="connsiteX1" fmla="*/ 233553 w 501586"/>
                <a:gd name="connsiteY1" fmla="*/ 324993 h 324992"/>
                <a:gd name="connsiteX2" fmla="*/ 0 w 501586"/>
                <a:gd name="connsiteY2" fmla="*/ 324993 h 324992"/>
                <a:gd name="connsiteX3" fmla="*/ 0 w 501586"/>
                <a:gd name="connsiteY3" fmla="*/ 0 h 324992"/>
                <a:gd name="connsiteX4" fmla="*/ 501587 w 501586"/>
                <a:gd name="connsiteY4" fmla="*/ 0 h 324992"/>
                <a:gd name="connsiteX5" fmla="*/ 501587 w 501586"/>
                <a:gd name="connsiteY5" fmla="*/ 324993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586" h="324992">
                  <a:moveTo>
                    <a:pt x="501587" y="324993"/>
                  </a:moveTo>
                  <a:lnTo>
                    <a:pt x="233553" y="324993"/>
                  </a:lnTo>
                  <a:lnTo>
                    <a:pt x="0" y="324993"/>
                  </a:lnTo>
                  <a:lnTo>
                    <a:pt x="0" y="0"/>
                  </a:lnTo>
                  <a:lnTo>
                    <a:pt x="501587" y="0"/>
                  </a:lnTo>
                  <a:lnTo>
                    <a:pt x="501587" y="324993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F5FA107-8576-5D89-BA6A-EA3C6F5BC9A3}"/>
                </a:ext>
              </a:extLst>
            </p:cNvPr>
            <p:cNvSpPr/>
            <p:nvPr/>
          </p:nvSpPr>
          <p:spPr>
            <a:xfrm>
              <a:off x="7853205" y="1735277"/>
              <a:ext cx="605599" cy="123729"/>
            </a:xfrm>
            <a:custGeom>
              <a:avLst/>
              <a:gdLst>
                <a:gd name="connsiteX0" fmla="*/ 54102 w 605599"/>
                <a:gd name="connsiteY0" fmla="*/ 0 h 123729"/>
                <a:gd name="connsiteX1" fmla="*/ 0 w 605599"/>
                <a:gd name="connsiteY1" fmla="*/ 123730 h 123729"/>
                <a:gd name="connsiteX2" fmla="*/ 605600 w 605599"/>
                <a:gd name="connsiteY2" fmla="*/ 123730 h 123729"/>
                <a:gd name="connsiteX3" fmla="*/ 555689 w 605599"/>
                <a:gd name="connsiteY3" fmla="*/ 0 h 12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599" h="123729">
                  <a:moveTo>
                    <a:pt x="54102" y="0"/>
                  </a:moveTo>
                  <a:lnTo>
                    <a:pt x="0" y="123730"/>
                  </a:lnTo>
                  <a:lnTo>
                    <a:pt x="605600" y="123730"/>
                  </a:lnTo>
                  <a:lnTo>
                    <a:pt x="555689" y="0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C2792E5-F693-D0E5-2AD5-279C4E084F93}"/>
                </a:ext>
              </a:extLst>
            </p:cNvPr>
            <p:cNvSpPr/>
            <p:nvPr/>
          </p:nvSpPr>
          <p:spPr>
            <a:xfrm>
              <a:off x="8072851" y="1797095"/>
              <a:ext cx="168306" cy="57435"/>
            </a:xfrm>
            <a:custGeom>
              <a:avLst/>
              <a:gdLst>
                <a:gd name="connsiteX0" fmla="*/ 0 w 168306"/>
                <a:gd name="connsiteY0" fmla="*/ 57436 h 57435"/>
                <a:gd name="connsiteX1" fmla="*/ 23813 w 168306"/>
                <a:gd name="connsiteY1" fmla="*/ 0 h 57435"/>
                <a:gd name="connsiteX2" fmla="*/ 142780 w 168306"/>
                <a:gd name="connsiteY2" fmla="*/ 0 h 57435"/>
                <a:gd name="connsiteX3" fmla="*/ 168307 w 168306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306" h="57435">
                  <a:moveTo>
                    <a:pt x="0" y="57436"/>
                  </a:moveTo>
                  <a:lnTo>
                    <a:pt x="23813" y="0"/>
                  </a:lnTo>
                  <a:lnTo>
                    <a:pt x="142780" y="0"/>
                  </a:lnTo>
                  <a:lnTo>
                    <a:pt x="168307" y="57436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A957AC8-0F24-D4B1-AAD4-9B2889525378}"/>
                </a:ext>
              </a:extLst>
            </p:cNvPr>
            <p:cNvSpPr/>
            <p:nvPr/>
          </p:nvSpPr>
          <p:spPr>
            <a:xfrm>
              <a:off x="7853205" y="1859007"/>
              <a:ext cx="605599" cy="58197"/>
            </a:xfrm>
            <a:custGeom>
              <a:avLst/>
              <a:gdLst>
                <a:gd name="connsiteX0" fmla="*/ 605600 w 605599"/>
                <a:gd name="connsiteY0" fmla="*/ 0 h 58197"/>
                <a:gd name="connsiteX1" fmla="*/ 605600 w 605599"/>
                <a:gd name="connsiteY1" fmla="*/ 58198 h 58197"/>
                <a:gd name="connsiteX2" fmla="*/ 0 w 605599"/>
                <a:gd name="connsiteY2" fmla="*/ 58198 h 58197"/>
                <a:gd name="connsiteX3" fmla="*/ 0 w 605599"/>
                <a:gd name="connsiteY3" fmla="*/ 0 h 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599" h="58197">
                  <a:moveTo>
                    <a:pt x="605600" y="0"/>
                  </a:moveTo>
                  <a:lnTo>
                    <a:pt x="605600" y="58198"/>
                  </a:lnTo>
                  <a:lnTo>
                    <a:pt x="0" y="5819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98B71160-6783-D289-A1CE-70C5060DBB66}"/>
              </a:ext>
            </a:extLst>
          </p:cNvPr>
          <p:cNvGrpSpPr>
            <a:grpSpLocks noChangeAspect="1"/>
          </p:cNvGrpSpPr>
          <p:nvPr/>
        </p:nvGrpSpPr>
        <p:grpSpPr>
          <a:xfrm>
            <a:off x="2245382" y="4156614"/>
            <a:ext cx="492674" cy="387828"/>
            <a:chOff x="4936022" y="5372976"/>
            <a:chExt cx="642828" cy="506029"/>
          </a:xfrm>
          <a:noFill/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FEB5C035-D460-3E31-45EE-C19BB1E15AA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36022" y="5372976"/>
              <a:ext cx="501755" cy="345104"/>
              <a:chOff x="4838886" y="5322453"/>
              <a:chExt cx="607123" cy="417575"/>
            </a:xfrm>
            <a:grpFill/>
          </p:grpSpPr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40D4C687-1188-3004-1137-65CC0119335C}"/>
                  </a:ext>
                </a:extLst>
              </p:cNvPr>
              <p:cNvSpPr/>
              <p:nvPr/>
            </p:nvSpPr>
            <p:spPr>
              <a:xfrm rot="16200000">
                <a:off x="4933660" y="5227679"/>
                <a:ext cx="417575" cy="607123"/>
              </a:xfrm>
              <a:custGeom>
                <a:avLst/>
                <a:gdLst>
                  <a:gd name="connsiteX0" fmla="*/ 67056 w 417575"/>
                  <a:gd name="connsiteY0" fmla="*/ 607124 h 607123"/>
                  <a:gd name="connsiteX1" fmla="*/ 12478 w 417575"/>
                  <a:gd name="connsiteY1" fmla="*/ 607124 h 607123"/>
                  <a:gd name="connsiteX2" fmla="*/ 0 w 417575"/>
                  <a:gd name="connsiteY2" fmla="*/ 594646 h 607123"/>
                  <a:gd name="connsiteX3" fmla="*/ 0 w 417575"/>
                  <a:gd name="connsiteY3" fmla="*/ 12478 h 607123"/>
                  <a:gd name="connsiteX4" fmla="*/ 12478 w 417575"/>
                  <a:gd name="connsiteY4" fmla="*/ 0 h 607123"/>
                  <a:gd name="connsiteX5" fmla="*/ 323088 w 417575"/>
                  <a:gd name="connsiteY5" fmla="*/ 0 h 607123"/>
                  <a:gd name="connsiteX6" fmla="*/ 417576 w 417575"/>
                  <a:gd name="connsiteY6" fmla="*/ 94012 h 607123"/>
                  <a:gd name="connsiteX7" fmla="*/ 417576 w 417575"/>
                  <a:gd name="connsiteY7" fmla="*/ 594646 h 607123"/>
                  <a:gd name="connsiteX8" fmla="*/ 405098 w 417575"/>
                  <a:gd name="connsiteY8" fmla="*/ 607124 h 607123"/>
                  <a:gd name="connsiteX9" fmla="*/ 67056 w 417575"/>
                  <a:gd name="connsiteY9" fmla="*/ 607124 h 607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7575" h="607123">
                    <a:moveTo>
                      <a:pt x="67056" y="607124"/>
                    </a:moveTo>
                    <a:lnTo>
                      <a:pt x="12478" y="607124"/>
                    </a:lnTo>
                    <a:cubicBezTo>
                      <a:pt x="5620" y="607124"/>
                      <a:pt x="0" y="601504"/>
                      <a:pt x="0" y="594646"/>
                    </a:cubicBezTo>
                    <a:lnTo>
                      <a:pt x="0" y="12478"/>
                    </a:lnTo>
                    <a:cubicBezTo>
                      <a:pt x="0" y="5620"/>
                      <a:pt x="5620" y="0"/>
                      <a:pt x="12478" y="0"/>
                    </a:cubicBezTo>
                    <a:lnTo>
                      <a:pt x="323088" y="0"/>
                    </a:lnTo>
                    <a:lnTo>
                      <a:pt x="417576" y="94012"/>
                    </a:lnTo>
                    <a:lnTo>
                      <a:pt x="417576" y="594646"/>
                    </a:lnTo>
                    <a:cubicBezTo>
                      <a:pt x="417576" y="601504"/>
                      <a:pt x="411956" y="607124"/>
                      <a:pt x="405098" y="607124"/>
                    </a:cubicBezTo>
                    <a:lnTo>
                      <a:pt x="67056" y="607124"/>
                    </a:lnTo>
                    <a:close/>
                  </a:path>
                </a:pathLst>
              </a:custGeom>
              <a:grpFill/>
              <a:ln w="6350" cap="sq">
                <a:solidFill>
                  <a:srgbClr val="098E7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EFE3373-58A5-3599-21C9-B03989D3FE81}"/>
                  </a:ext>
                </a:extLst>
              </p:cNvPr>
              <p:cNvSpPr/>
              <p:nvPr/>
            </p:nvSpPr>
            <p:spPr>
              <a:xfrm rot="16200000">
                <a:off x="4845506" y="5328691"/>
                <a:ext cx="105155" cy="98393"/>
              </a:xfrm>
              <a:custGeom>
                <a:avLst/>
                <a:gdLst>
                  <a:gd name="connsiteX0" fmla="*/ 0 w 105155"/>
                  <a:gd name="connsiteY0" fmla="*/ 0 h 98393"/>
                  <a:gd name="connsiteX1" fmla="*/ 0 w 105155"/>
                  <a:gd name="connsiteY1" fmla="*/ 98393 h 98393"/>
                  <a:gd name="connsiteX2" fmla="*/ 105156 w 105155"/>
                  <a:gd name="connsiteY2" fmla="*/ 98393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55" h="98393">
                    <a:moveTo>
                      <a:pt x="0" y="0"/>
                    </a:moveTo>
                    <a:lnTo>
                      <a:pt x="0" y="98393"/>
                    </a:lnTo>
                    <a:lnTo>
                      <a:pt x="105156" y="98393"/>
                    </a:lnTo>
                  </a:path>
                </a:pathLst>
              </a:custGeom>
              <a:grpFill/>
              <a:ln w="6350" cap="sq">
                <a:solidFill>
                  <a:srgbClr val="098E7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ECB06EC0-BBED-EA6D-7DC1-098D0ABBCF99}"/>
                </a:ext>
              </a:extLst>
            </p:cNvPr>
            <p:cNvGrpSpPr/>
            <p:nvPr/>
          </p:nvGrpSpPr>
          <p:grpSpPr>
            <a:xfrm>
              <a:off x="5280195" y="5515455"/>
              <a:ext cx="298655" cy="363550"/>
              <a:chOff x="5275242" y="5490288"/>
              <a:chExt cx="361373" cy="439895"/>
            </a:xfrm>
            <a:grpFill/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4B554574-C2E0-81F8-6300-E27C83BE07DA}"/>
                  </a:ext>
                </a:extLst>
              </p:cNvPr>
              <p:cNvGrpSpPr/>
              <p:nvPr/>
            </p:nvGrpSpPr>
            <p:grpSpPr>
              <a:xfrm>
                <a:off x="5275242" y="5490288"/>
                <a:ext cx="277806" cy="439895"/>
                <a:chOff x="5275242" y="5490288"/>
                <a:chExt cx="277806" cy="439895"/>
              </a:xfrm>
              <a:grpFill/>
            </p:grpSpPr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D7435D74-1775-E9FD-DC78-22112F19598C}"/>
                    </a:ext>
                  </a:extLst>
                </p:cNvPr>
                <p:cNvSpPr/>
                <p:nvPr/>
              </p:nvSpPr>
              <p:spPr>
                <a:xfrm>
                  <a:off x="5326410" y="5737608"/>
                  <a:ext cx="187494" cy="192575"/>
                </a:xfrm>
                <a:custGeom>
                  <a:avLst/>
                  <a:gdLst>
                    <a:gd name="connsiteX0" fmla="*/ 0 w 249554"/>
                    <a:gd name="connsiteY0" fmla="*/ 9906 h 256317"/>
                    <a:gd name="connsiteX1" fmla="*/ 0 w 249554"/>
                    <a:gd name="connsiteY1" fmla="*/ 256318 h 256317"/>
                    <a:gd name="connsiteX2" fmla="*/ 124778 w 249554"/>
                    <a:gd name="connsiteY2" fmla="*/ 173165 h 256317"/>
                    <a:gd name="connsiteX3" fmla="*/ 249555 w 249554"/>
                    <a:gd name="connsiteY3" fmla="*/ 256318 h 256317"/>
                    <a:gd name="connsiteX4" fmla="*/ 249555 w 249554"/>
                    <a:gd name="connsiteY4" fmla="*/ 0 h 256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4" h="256317">
                      <a:moveTo>
                        <a:pt x="0" y="9906"/>
                      </a:moveTo>
                      <a:lnTo>
                        <a:pt x="0" y="256318"/>
                      </a:lnTo>
                      <a:lnTo>
                        <a:pt x="124778" y="173165"/>
                      </a:lnTo>
                      <a:lnTo>
                        <a:pt x="249555" y="256318"/>
                      </a:lnTo>
                      <a:lnTo>
                        <a:pt x="249555" y="0"/>
                      </a:lnTo>
                    </a:path>
                  </a:pathLst>
                </a:custGeom>
                <a:grpFill/>
                <a:ln w="6350" cap="rnd">
                  <a:solidFill>
                    <a:srgbClr val="098E7E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884FD9A4-77B6-0487-6892-3111E016CE81}"/>
                    </a:ext>
                  </a:extLst>
                </p:cNvPr>
                <p:cNvSpPr/>
                <p:nvPr/>
              </p:nvSpPr>
              <p:spPr>
                <a:xfrm>
                  <a:off x="5275242" y="5490288"/>
                  <a:ext cx="277806" cy="284819"/>
                </a:xfrm>
                <a:custGeom>
                  <a:avLst/>
                  <a:gdLst>
                    <a:gd name="connsiteX0" fmla="*/ 369761 w 369760"/>
                    <a:gd name="connsiteY0" fmla="*/ 248603 h 379094"/>
                    <a:gd name="connsiteX1" fmla="*/ 189548 w 369760"/>
                    <a:gd name="connsiteY1" fmla="*/ 379095 h 379094"/>
                    <a:gd name="connsiteX2" fmla="*/ 0 w 369760"/>
                    <a:gd name="connsiteY2" fmla="*/ 189548 h 379094"/>
                    <a:gd name="connsiteX3" fmla="*/ 189643 w 369760"/>
                    <a:gd name="connsiteY3" fmla="*/ 0 h 379094"/>
                    <a:gd name="connsiteX4" fmla="*/ 227838 w 369760"/>
                    <a:gd name="connsiteY4" fmla="*/ 3810 h 379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760" h="379094">
                      <a:moveTo>
                        <a:pt x="369761" y="248603"/>
                      </a:moveTo>
                      <a:cubicBezTo>
                        <a:pt x="344900" y="324326"/>
                        <a:pt x="273653" y="379095"/>
                        <a:pt x="189548" y="379095"/>
                      </a:cubicBezTo>
                      <a:cubicBezTo>
                        <a:pt x="84868" y="379095"/>
                        <a:pt x="0" y="294227"/>
                        <a:pt x="0" y="189548"/>
                      </a:cubicBezTo>
                      <a:cubicBezTo>
                        <a:pt x="0" y="84868"/>
                        <a:pt x="84963" y="0"/>
                        <a:pt x="189643" y="0"/>
                      </a:cubicBezTo>
                      <a:cubicBezTo>
                        <a:pt x="202692" y="0"/>
                        <a:pt x="215551" y="1333"/>
                        <a:pt x="227838" y="3810"/>
                      </a:cubicBezTo>
                    </a:path>
                  </a:pathLst>
                </a:custGeom>
                <a:solidFill>
                  <a:srgbClr val="ACEAFF"/>
                </a:solidFill>
                <a:ln w="6350" cap="flat">
                  <a:solidFill>
                    <a:srgbClr val="098E7E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3519B171-318C-6088-07A0-F530BD31FCCB}"/>
                  </a:ext>
                </a:extLst>
              </p:cNvPr>
              <p:cNvSpPr/>
              <p:nvPr/>
            </p:nvSpPr>
            <p:spPr>
              <a:xfrm>
                <a:off x="5480322" y="5492721"/>
                <a:ext cx="156293" cy="140620"/>
              </a:xfrm>
              <a:custGeom>
                <a:avLst/>
                <a:gdLst>
                  <a:gd name="connsiteX0" fmla="*/ 104013 w 208026"/>
                  <a:gd name="connsiteY0" fmla="*/ 0 h 187166"/>
                  <a:gd name="connsiteX1" fmla="*/ 137160 w 208026"/>
                  <a:gd name="connsiteY1" fmla="*/ 62389 h 187166"/>
                  <a:gd name="connsiteX2" fmla="*/ 208026 w 208026"/>
                  <a:gd name="connsiteY2" fmla="*/ 70961 h 187166"/>
                  <a:gd name="connsiteX3" fmla="*/ 156019 w 208026"/>
                  <a:gd name="connsiteY3" fmla="*/ 117824 h 187166"/>
                  <a:gd name="connsiteX4" fmla="*/ 166402 w 208026"/>
                  <a:gd name="connsiteY4" fmla="*/ 187166 h 187166"/>
                  <a:gd name="connsiteX5" fmla="*/ 104013 w 208026"/>
                  <a:gd name="connsiteY5" fmla="*/ 148209 h 187166"/>
                  <a:gd name="connsiteX6" fmla="*/ 41624 w 208026"/>
                  <a:gd name="connsiteY6" fmla="*/ 187166 h 187166"/>
                  <a:gd name="connsiteX7" fmla="*/ 52006 w 208026"/>
                  <a:gd name="connsiteY7" fmla="*/ 117824 h 187166"/>
                  <a:gd name="connsiteX8" fmla="*/ 0 w 208026"/>
                  <a:gd name="connsiteY8" fmla="*/ 70961 h 187166"/>
                  <a:gd name="connsiteX9" fmla="*/ 72771 w 208026"/>
                  <a:gd name="connsiteY9" fmla="*/ 62389 h 187166"/>
                  <a:gd name="connsiteX10" fmla="*/ 104013 w 208026"/>
                  <a:gd name="connsiteY10" fmla="*/ 0 h 18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026" h="187166">
                    <a:moveTo>
                      <a:pt x="104013" y="0"/>
                    </a:moveTo>
                    <a:lnTo>
                      <a:pt x="137160" y="62389"/>
                    </a:lnTo>
                    <a:lnTo>
                      <a:pt x="208026" y="70961"/>
                    </a:lnTo>
                    <a:lnTo>
                      <a:pt x="156019" y="117824"/>
                    </a:lnTo>
                    <a:lnTo>
                      <a:pt x="166402" y="187166"/>
                    </a:lnTo>
                    <a:lnTo>
                      <a:pt x="104013" y="148209"/>
                    </a:lnTo>
                    <a:lnTo>
                      <a:pt x="41624" y="187166"/>
                    </a:lnTo>
                    <a:lnTo>
                      <a:pt x="52006" y="117824"/>
                    </a:lnTo>
                    <a:lnTo>
                      <a:pt x="0" y="70961"/>
                    </a:lnTo>
                    <a:lnTo>
                      <a:pt x="72771" y="62389"/>
                    </a:lnTo>
                    <a:lnTo>
                      <a:pt x="104013" y="0"/>
                    </a:lnTo>
                    <a:close/>
                  </a:path>
                </a:pathLst>
              </a:custGeom>
              <a:solidFill>
                <a:srgbClr val="ACEAFF"/>
              </a:solidFill>
              <a:ln w="6350" cap="flat">
                <a:solidFill>
                  <a:srgbClr val="098E7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AB7B464-C725-DD52-D259-ECBDCBAE1D94}"/>
              </a:ext>
            </a:extLst>
          </p:cNvPr>
          <p:cNvGrpSpPr>
            <a:grpSpLocks noChangeAspect="1"/>
          </p:cNvGrpSpPr>
          <p:nvPr/>
        </p:nvGrpSpPr>
        <p:grpSpPr>
          <a:xfrm>
            <a:off x="9746348" y="2664841"/>
            <a:ext cx="492674" cy="387828"/>
            <a:chOff x="4936022" y="5372976"/>
            <a:chExt cx="642828" cy="506029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A0655737-3675-B4C2-3BF8-9A201E00DC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36022" y="5372976"/>
              <a:ext cx="501755" cy="345104"/>
              <a:chOff x="4838886" y="5322453"/>
              <a:chExt cx="607123" cy="417575"/>
            </a:xfrm>
          </p:grpSpPr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435DB7FD-6D37-1A15-6C20-14EA7157D98E}"/>
                  </a:ext>
                </a:extLst>
              </p:cNvPr>
              <p:cNvSpPr/>
              <p:nvPr/>
            </p:nvSpPr>
            <p:spPr>
              <a:xfrm rot="16200000">
                <a:off x="4933660" y="5227679"/>
                <a:ext cx="417575" cy="607123"/>
              </a:xfrm>
              <a:custGeom>
                <a:avLst/>
                <a:gdLst>
                  <a:gd name="connsiteX0" fmla="*/ 67056 w 417575"/>
                  <a:gd name="connsiteY0" fmla="*/ 607124 h 607123"/>
                  <a:gd name="connsiteX1" fmla="*/ 12478 w 417575"/>
                  <a:gd name="connsiteY1" fmla="*/ 607124 h 607123"/>
                  <a:gd name="connsiteX2" fmla="*/ 0 w 417575"/>
                  <a:gd name="connsiteY2" fmla="*/ 594646 h 607123"/>
                  <a:gd name="connsiteX3" fmla="*/ 0 w 417575"/>
                  <a:gd name="connsiteY3" fmla="*/ 12478 h 607123"/>
                  <a:gd name="connsiteX4" fmla="*/ 12478 w 417575"/>
                  <a:gd name="connsiteY4" fmla="*/ 0 h 607123"/>
                  <a:gd name="connsiteX5" fmla="*/ 323088 w 417575"/>
                  <a:gd name="connsiteY5" fmla="*/ 0 h 607123"/>
                  <a:gd name="connsiteX6" fmla="*/ 417576 w 417575"/>
                  <a:gd name="connsiteY6" fmla="*/ 94012 h 607123"/>
                  <a:gd name="connsiteX7" fmla="*/ 417576 w 417575"/>
                  <a:gd name="connsiteY7" fmla="*/ 594646 h 607123"/>
                  <a:gd name="connsiteX8" fmla="*/ 405098 w 417575"/>
                  <a:gd name="connsiteY8" fmla="*/ 607124 h 607123"/>
                  <a:gd name="connsiteX9" fmla="*/ 67056 w 417575"/>
                  <a:gd name="connsiteY9" fmla="*/ 607124 h 607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7575" h="607123">
                    <a:moveTo>
                      <a:pt x="67056" y="607124"/>
                    </a:moveTo>
                    <a:lnTo>
                      <a:pt x="12478" y="607124"/>
                    </a:lnTo>
                    <a:cubicBezTo>
                      <a:pt x="5620" y="607124"/>
                      <a:pt x="0" y="601504"/>
                      <a:pt x="0" y="594646"/>
                    </a:cubicBezTo>
                    <a:lnTo>
                      <a:pt x="0" y="12478"/>
                    </a:lnTo>
                    <a:cubicBezTo>
                      <a:pt x="0" y="5620"/>
                      <a:pt x="5620" y="0"/>
                      <a:pt x="12478" y="0"/>
                    </a:cubicBezTo>
                    <a:lnTo>
                      <a:pt x="323088" y="0"/>
                    </a:lnTo>
                    <a:lnTo>
                      <a:pt x="417576" y="94012"/>
                    </a:lnTo>
                    <a:lnTo>
                      <a:pt x="417576" y="594646"/>
                    </a:lnTo>
                    <a:cubicBezTo>
                      <a:pt x="417576" y="601504"/>
                      <a:pt x="411956" y="607124"/>
                      <a:pt x="405098" y="607124"/>
                    </a:cubicBezTo>
                    <a:lnTo>
                      <a:pt x="67056" y="607124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A0597C60-1B82-C407-C022-5099916C5671}"/>
                  </a:ext>
                </a:extLst>
              </p:cNvPr>
              <p:cNvSpPr/>
              <p:nvPr/>
            </p:nvSpPr>
            <p:spPr>
              <a:xfrm rot="16200000">
                <a:off x="4845506" y="5328691"/>
                <a:ext cx="105155" cy="98393"/>
              </a:xfrm>
              <a:custGeom>
                <a:avLst/>
                <a:gdLst>
                  <a:gd name="connsiteX0" fmla="*/ 0 w 105155"/>
                  <a:gd name="connsiteY0" fmla="*/ 0 h 98393"/>
                  <a:gd name="connsiteX1" fmla="*/ 0 w 105155"/>
                  <a:gd name="connsiteY1" fmla="*/ 98393 h 98393"/>
                  <a:gd name="connsiteX2" fmla="*/ 105156 w 105155"/>
                  <a:gd name="connsiteY2" fmla="*/ 98393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55" h="98393">
                    <a:moveTo>
                      <a:pt x="0" y="0"/>
                    </a:moveTo>
                    <a:lnTo>
                      <a:pt x="0" y="98393"/>
                    </a:lnTo>
                    <a:lnTo>
                      <a:pt x="105156" y="98393"/>
                    </a:lnTo>
                  </a:path>
                </a:pathLst>
              </a:custGeom>
              <a:noFill/>
              <a:ln w="6350" cap="sq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863BC2F7-7911-C280-6E18-5E5E7CBFAAFD}"/>
                </a:ext>
              </a:extLst>
            </p:cNvPr>
            <p:cNvGrpSpPr/>
            <p:nvPr/>
          </p:nvGrpSpPr>
          <p:grpSpPr>
            <a:xfrm>
              <a:off x="5280195" y="5515455"/>
              <a:ext cx="298655" cy="363550"/>
              <a:chOff x="5275242" y="5490288"/>
              <a:chExt cx="361373" cy="439895"/>
            </a:xfrm>
          </p:grpSpPr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6CC0CBF5-8686-86B3-DF4A-DBD7A48411B6}"/>
                  </a:ext>
                </a:extLst>
              </p:cNvPr>
              <p:cNvGrpSpPr/>
              <p:nvPr/>
            </p:nvGrpSpPr>
            <p:grpSpPr>
              <a:xfrm>
                <a:off x="5275242" y="5490288"/>
                <a:ext cx="277806" cy="439895"/>
                <a:chOff x="5275242" y="5490288"/>
                <a:chExt cx="277806" cy="439895"/>
              </a:xfrm>
            </p:grpSpPr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4CC9763D-ABBF-FB07-8361-01E8ABD017D1}"/>
                    </a:ext>
                  </a:extLst>
                </p:cNvPr>
                <p:cNvSpPr/>
                <p:nvPr/>
              </p:nvSpPr>
              <p:spPr>
                <a:xfrm>
                  <a:off x="5326410" y="5737608"/>
                  <a:ext cx="187494" cy="192575"/>
                </a:xfrm>
                <a:custGeom>
                  <a:avLst/>
                  <a:gdLst>
                    <a:gd name="connsiteX0" fmla="*/ 0 w 249554"/>
                    <a:gd name="connsiteY0" fmla="*/ 9906 h 256317"/>
                    <a:gd name="connsiteX1" fmla="*/ 0 w 249554"/>
                    <a:gd name="connsiteY1" fmla="*/ 256318 h 256317"/>
                    <a:gd name="connsiteX2" fmla="*/ 124778 w 249554"/>
                    <a:gd name="connsiteY2" fmla="*/ 173165 h 256317"/>
                    <a:gd name="connsiteX3" fmla="*/ 249555 w 249554"/>
                    <a:gd name="connsiteY3" fmla="*/ 256318 h 256317"/>
                    <a:gd name="connsiteX4" fmla="*/ 249555 w 249554"/>
                    <a:gd name="connsiteY4" fmla="*/ 0 h 256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4" h="256317">
                      <a:moveTo>
                        <a:pt x="0" y="9906"/>
                      </a:moveTo>
                      <a:lnTo>
                        <a:pt x="0" y="256318"/>
                      </a:lnTo>
                      <a:lnTo>
                        <a:pt x="124778" y="173165"/>
                      </a:lnTo>
                      <a:lnTo>
                        <a:pt x="249555" y="256318"/>
                      </a:lnTo>
                      <a:lnTo>
                        <a:pt x="24955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559133C3-C1B2-AB28-B515-0CF6CD8C2261}"/>
                    </a:ext>
                  </a:extLst>
                </p:cNvPr>
                <p:cNvSpPr/>
                <p:nvPr/>
              </p:nvSpPr>
              <p:spPr>
                <a:xfrm>
                  <a:off x="5275242" y="5490288"/>
                  <a:ext cx="277806" cy="284819"/>
                </a:xfrm>
                <a:custGeom>
                  <a:avLst/>
                  <a:gdLst>
                    <a:gd name="connsiteX0" fmla="*/ 369761 w 369760"/>
                    <a:gd name="connsiteY0" fmla="*/ 248603 h 379094"/>
                    <a:gd name="connsiteX1" fmla="*/ 189548 w 369760"/>
                    <a:gd name="connsiteY1" fmla="*/ 379095 h 379094"/>
                    <a:gd name="connsiteX2" fmla="*/ 0 w 369760"/>
                    <a:gd name="connsiteY2" fmla="*/ 189548 h 379094"/>
                    <a:gd name="connsiteX3" fmla="*/ 189643 w 369760"/>
                    <a:gd name="connsiteY3" fmla="*/ 0 h 379094"/>
                    <a:gd name="connsiteX4" fmla="*/ 227838 w 369760"/>
                    <a:gd name="connsiteY4" fmla="*/ 3810 h 379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760" h="379094">
                      <a:moveTo>
                        <a:pt x="369761" y="248603"/>
                      </a:moveTo>
                      <a:cubicBezTo>
                        <a:pt x="344900" y="324326"/>
                        <a:pt x="273653" y="379095"/>
                        <a:pt x="189548" y="379095"/>
                      </a:cubicBezTo>
                      <a:cubicBezTo>
                        <a:pt x="84868" y="379095"/>
                        <a:pt x="0" y="294227"/>
                        <a:pt x="0" y="189548"/>
                      </a:cubicBezTo>
                      <a:cubicBezTo>
                        <a:pt x="0" y="84868"/>
                        <a:pt x="84963" y="0"/>
                        <a:pt x="189643" y="0"/>
                      </a:cubicBezTo>
                      <a:cubicBezTo>
                        <a:pt x="202692" y="0"/>
                        <a:pt x="215551" y="1333"/>
                        <a:pt x="227838" y="3810"/>
                      </a:cubicBezTo>
                    </a:path>
                  </a:pathLst>
                </a:custGeom>
                <a:solidFill>
                  <a:schemeClr val="bg1"/>
                </a:solidFill>
                <a:ln w="635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836FA2D8-55F3-0960-CC74-D418CE9446DD}"/>
                  </a:ext>
                </a:extLst>
              </p:cNvPr>
              <p:cNvSpPr/>
              <p:nvPr/>
            </p:nvSpPr>
            <p:spPr>
              <a:xfrm>
                <a:off x="5480322" y="5492721"/>
                <a:ext cx="156293" cy="140620"/>
              </a:xfrm>
              <a:custGeom>
                <a:avLst/>
                <a:gdLst>
                  <a:gd name="connsiteX0" fmla="*/ 104013 w 208026"/>
                  <a:gd name="connsiteY0" fmla="*/ 0 h 187166"/>
                  <a:gd name="connsiteX1" fmla="*/ 137160 w 208026"/>
                  <a:gd name="connsiteY1" fmla="*/ 62389 h 187166"/>
                  <a:gd name="connsiteX2" fmla="*/ 208026 w 208026"/>
                  <a:gd name="connsiteY2" fmla="*/ 70961 h 187166"/>
                  <a:gd name="connsiteX3" fmla="*/ 156019 w 208026"/>
                  <a:gd name="connsiteY3" fmla="*/ 117824 h 187166"/>
                  <a:gd name="connsiteX4" fmla="*/ 166402 w 208026"/>
                  <a:gd name="connsiteY4" fmla="*/ 187166 h 187166"/>
                  <a:gd name="connsiteX5" fmla="*/ 104013 w 208026"/>
                  <a:gd name="connsiteY5" fmla="*/ 148209 h 187166"/>
                  <a:gd name="connsiteX6" fmla="*/ 41624 w 208026"/>
                  <a:gd name="connsiteY6" fmla="*/ 187166 h 187166"/>
                  <a:gd name="connsiteX7" fmla="*/ 52006 w 208026"/>
                  <a:gd name="connsiteY7" fmla="*/ 117824 h 187166"/>
                  <a:gd name="connsiteX8" fmla="*/ 0 w 208026"/>
                  <a:gd name="connsiteY8" fmla="*/ 70961 h 187166"/>
                  <a:gd name="connsiteX9" fmla="*/ 72771 w 208026"/>
                  <a:gd name="connsiteY9" fmla="*/ 62389 h 187166"/>
                  <a:gd name="connsiteX10" fmla="*/ 104013 w 208026"/>
                  <a:gd name="connsiteY10" fmla="*/ 0 h 18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026" h="187166">
                    <a:moveTo>
                      <a:pt x="104013" y="0"/>
                    </a:moveTo>
                    <a:lnTo>
                      <a:pt x="137160" y="62389"/>
                    </a:lnTo>
                    <a:lnTo>
                      <a:pt x="208026" y="70961"/>
                    </a:lnTo>
                    <a:lnTo>
                      <a:pt x="156019" y="117824"/>
                    </a:lnTo>
                    <a:lnTo>
                      <a:pt x="166402" y="187166"/>
                    </a:lnTo>
                    <a:lnTo>
                      <a:pt x="104013" y="148209"/>
                    </a:lnTo>
                    <a:lnTo>
                      <a:pt x="41624" y="187166"/>
                    </a:lnTo>
                    <a:lnTo>
                      <a:pt x="52006" y="117824"/>
                    </a:lnTo>
                    <a:lnTo>
                      <a:pt x="0" y="70961"/>
                    </a:lnTo>
                    <a:lnTo>
                      <a:pt x="72771" y="62389"/>
                    </a:lnTo>
                    <a:lnTo>
                      <a:pt x="104013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BC46A1D-27BB-A964-628D-7A736DE5F547}"/>
              </a:ext>
            </a:extLst>
          </p:cNvPr>
          <p:cNvGrpSpPr>
            <a:grpSpLocks noChangeAspect="1"/>
          </p:cNvGrpSpPr>
          <p:nvPr/>
        </p:nvGrpSpPr>
        <p:grpSpPr>
          <a:xfrm>
            <a:off x="10572846" y="3678502"/>
            <a:ext cx="492674" cy="387828"/>
            <a:chOff x="4936022" y="5372976"/>
            <a:chExt cx="642828" cy="506029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30F67124-3F1B-2EF0-88F7-E3E8638E12E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36022" y="5372976"/>
              <a:ext cx="501755" cy="345104"/>
              <a:chOff x="4838886" y="5322453"/>
              <a:chExt cx="607123" cy="417575"/>
            </a:xfrm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C895DCA0-44E9-19DF-BE6F-D0D8C840E0DD}"/>
                  </a:ext>
                </a:extLst>
              </p:cNvPr>
              <p:cNvSpPr/>
              <p:nvPr/>
            </p:nvSpPr>
            <p:spPr>
              <a:xfrm rot="16200000">
                <a:off x="4933660" y="5227679"/>
                <a:ext cx="417575" cy="607123"/>
              </a:xfrm>
              <a:custGeom>
                <a:avLst/>
                <a:gdLst>
                  <a:gd name="connsiteX0" fmla="*/ 67056 w 417575"/>
                  <a:gd name="connsiteY0" fmla="*/ 607124 h 607123"/>
                  <a:gd name="connsiteX1" fmla="*/ 12478 w 417575"/>
                  <a:gd name="connsiteY1" fmla="*/ 607124 h 607123"/>
                  <a:gd name="connsiteX2" fmla="*/ 0 w 417575"/>
                  <a:gd name="connsiteY2" fmla="*/ 594646 h 607123"/>
                  <a:gd name="connsiteX3" fmla="*/ 0 w 417575"/>
                  <a:gd name="connsiteY3" fmla="*/ 12478 h 607123"/>
                  <a:gd name="connsiteX4" fmla="*/ 12478 w 417575"/>
                  <a:gd name="connsiteY4" fmla="*/ 0 h 607123"/>
                  <a:gd name="connsiteX5" fmla="*/ 323088 w 417575"/>
                  <a:gd name="connsiteY5" fmla="*/ 0 h 607123"/>
                  <a:gd name="connsiteX6" fmla="*/ 417576 w 417575"/>
                  <a:gd name="connsiteY6" fmla="*/ 94012 h 607123"/>
                  <a:gd name="connsiteX7" fmla="*/ 417576 w 417575"/>
                  <a:gd name="connsiteY7" fmla="*/ 594646 h 607123"/>
                  <a:gd name="connsiteX8" fmla="*/ 405098 w 417575"/>
                  <a:gd name="connsiteY8" fmla="*/ 607124 h 607123"/>
                  <a:gd name="connsiteX9" fmla="*/ 67056 w 417575"/>
                  <a:gd name="connsiteY9" fmla="*/ 607124 h 607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7575" h="607123">
                    <a:moveTo>
                      <a:pt x="67056" y="607124"/>
                    </a:moveTo>
                    <a:lnTo>
                      <a:pt x="12478" y="607124"/>
                    </a:lnTo>
                    <a:cubicBezTo>
                      <a:pt x="5620" y="607124"/>
                      <a:pt x="0" y="601504"/>
                      <a:pt x="0" y="594646"/>
                    </a:cubicBezTo>
                    <a:lnTo>
                      <a:pt x="0" y="12478"/>
                    </a:lnTo>
                    <a:cubicBezTo>
                      <a:pt x="0" y="5620"/>
                      <a:pt x="5620" y="0"/>
                      <a:pt x="12478" y="0"/>
                    </a:cubicBezTo>
                    <a:lnTo>
                      <a:pt x="323088" y="0"/>
                    </a:lnTo>
                    <a:lnTo>
                      <a:pt x="417576" y="94012"/>
                    </a:lnTo>
                    <a:lnTo>
                      <a:pt x="417576" y="594646"/>
                    </a:lnTo>
                    <a:cubicBezTo>
                      <a:pt x="417576" y="601504"/>
                      <a:pt x="411956" y="607124"/>
                      <a:pt x="405098" y="607124"/>
                    </a:cubicBezTo>
                    <a:lnTo>
                      <a:pt x="67056" y="607124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sq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CE321961-84CE-2F1F-A6ED-21209AD1AFD3}"/>
                  </a:ext>
                </a:extLst>
              </p:cNvPr>
              <p:cNvSpPr/>
              <p:nvPr/>
            </p:nvSpPr>
            <p:spPr>
              <a:xfrm rot="16200000">
                <a:off x="4845506" y="5328691"/>
                <a:ext cx="105155" cy="98393"/>
              </a:xfrm>
              <a:custGeom>
                <a:avLst/>
                <a:gdLst>
                  <a:gd name="connsiteX0" fmla="*/ 0 w 105155"/>
                  <a:gd name="connsiteY0" fmla="*/ 0 h 98393"/>
                  <a:gd name="connsiteX1" fmla="*/ 0 w 105155"/>
                  <a:gd name="connsiteY1" fmla="*/ 98393 h 98393"/>
                  <a:gd name="connsiteX2" fmla="*/ 105156 w 105155"/>
                  <a:gd name="connsiteY2" fmla="*/ 98393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55" h="98393">
                    <a:moveTo>
                      <a:pt x="0" y="0"/>
                    </a:moveTo>
                    <a:lnTo>
                      <a:pt x="0" y="98393"/>
                    </a:lnTo>
                    <a:lnTo>
                      <a:pt x="105156" y="98393"/>
                    </a:lnTo>
                  </a:path>
                </a:pathLst>
              </a:custGeom>
              <a:noFill/>
              <a:ln w="6350" cap="sq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ABB53706-10D0-460B-6B90-3A704E480A82}"/>
                </a:ext>
              </a:extLst>
            </p:cNvPr>
            <p:cNvGrpSpPr/>
            <p:nvPr/>
          </p:nvGrpSpPr>
          <p:grpSpPr>
            <a:xfrm>
              <a:off x="5280195" y="5515455"/>
              <a:ext cx="298655" cy="363550"/>
              <a:chOff x="5275242" y="5490288"/>
              <a:chExt cx="361373" cy="439895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478F443F-F247-532D-CAB7-6334FF769C98}"/>
                  </a:ext>
                </a:extLst>
              </p:cNvPr>
              <p:cNvGrpSpPr/>
              <p:nvPr/>
            </p:nvGrpSpPr>
            <p:grpSpPr>
              <a:xfrm>
                <a:off x="5275242" y="5490288"/>
                <a:ext cx="277806" cy="439895"/>
                <a:chOff x="5275242" y="5490288"/>
                <a:chExt cx="277806" cy="439895"/>
              </a:xfrm>
            </p:grpSpPr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E0107F43-C90B-02DA-9545-22321AC44A02}"/>
                    </a:ext>
                  </a:extLst>
                </p:cNvPr>
                <p:cNvSpPr/>
                <p:nvPr/>
              </p:nvSpPr>
              <p:spPr>
                <a:xfrm>
                  <a:off x="5326410" y="5737608"/>
                  <a:ext cx="187494" cy="192575"/>
                </a:xfrm>
                <a:custGeom>
                  <a:avLst/>
                  <a:gdLst>
                    <a:gd name="connsiteX0" fmla="*/ 0 w 249554"/>
                    <a:gd name="connsiteY0" fmla="*/ 9906 h 256317"/>
                    <a:gd name="connsiteX1" fmla="*/ 0 w 249554"/>
                    <a:gd name="connsiteY1" fmla="*/ 256318 h 256317"/>
                    <a:gd name="connsiteX2" fmla="*/ 124778 w 249554"/>
                    <a:gd name="connsiteY2" fmla="*/ 173165 h 256317"/>
                    <a:gd name="connsiteX3" fmla="*/ 249555 w 249554"/>
                    <a:gd name="connsiteY3" fmla="*/ 256318 h 256317"/>
                    <a:gd name="connsiteX4" fmla="*/ 249555 w 249554"/>
                    <a:gd name="connsiteY4" fmla="*/ 0 h 256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4" h="256317">
                      <a:moveTo>
                        <a:pt x="0" y="9906"/>
                      </a:moveTo>
                      <a:lnTo>
                        <a:pt x="0" y="256318"/>
                      </a:lnTo>
                      <a:lnTo>
                        <a:pt x="124778" y="173165"/>
                      </a:lnTo>
                      <a:lnTo>
                        <a:pt x="249555" y="256318"/>
                      </a:lnTo>
                      <a:lnTo>
                        <a:pt x="249555" y="0"/>
                      </a:lnTo>
                    </a:path>
                  </a:pathLst>
                </a:custGeom>
                <a:noFill/>
                <a:ln w="6350" cap="rnd">
                  <a:solidFill>
                    <a:schemeClr val="accent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CFB9BEB6-4157-D3B5-CEEF-9FBFAE0B1814}"/>
                    </a:ext>
                  </a:extLst>
                </p:cNvPr>
                <p:cNvSpPr/>
                <p:nvPr/>
              </p:nvSpPr>
              <p:spPr>
                <a:xfrm>
                  <a:off x="5275242" y="5490288"/>
                  <a:ext cx="277806" cy="284819"/>
                </a:xfrm>
                <a:custGeom>
                  <a:avLst/>
                  <a:gdLst>
                    <a:gd name="connsiteX0" fmla="*/ 369761 w 369760"/>
                    <a:gd name="connsiteY0" fmla="*/ 248603 h 379094"/>
                    <a:gd name="connsiteX1" fmla="*/ 189548 w 369760"/>
                    <a:gd name="connsiteY1" fmla="*/ 379095 h 379094"/>
                    <a:gd name="connsiteX2" fmla="*/ 0 w 369760"/>
                    <a:gd name="connsiteY2" fmla="*/ 189548 h 379094"/>
                    <a:gd name="connsiteX3" fmla="*/ 189643 w 369760"/>
                    <a:gd name="connsiteY3" fmla="*/ 0 h 379094"/>
                    <a:gd name="connsiteX4" fmla="*/ 227838 w 369760"/>
                    <a:gd name="connsiteY4" fmla="*/ 3810 h 379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760" h="379094">
                      <a:moveTo>
                        <a:pt x="369761" y="248603"/>
                      </a:moveTo>
                      <a:cubicBezTo>
                        <a:pt x="344900" y="324326"/>
                        <a:pt x="273653" y="379095"/>
                        <a:pt x="189548" y="379095"/>
                      </a:cubicBezTo>
                      <a:cubicBezTo>
                        <a:pt x="84868" y="379095"/>
                        <a:pt x="0" y="294227"/>
                        <a:pt x="0" y="189548"/>
                      </a:cubicBezTo>
                      <a:cubicBezTo>
                        <a:pt x="0" y="84868"/>
                        <a:pt x="84963" y="0"/>
                        <a:pt x="189643" y="0"/>
                      </a:cubicBezTo>
                      <a:cubicBezTo>
                        <a:pt x="202692" y="0"/>
                        <a:pt x="215551" y="1333"/>
                        <a:pt x="227838" y="3810"/>
                      </a:cubicBezTo>
                    </a:path>
                  </a:pathLst>
                </a:custGeom>
                <a:solidFill>
                  <a:schemeClr val="bg1"/>
                </a:solidFill>
                <a:ln w="6350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84614C58-71F0-992B-5088-080A7897B640}"/>
                  </a:ext>
                </a:extLst>
              </p:cNvPr>
              <p:cNvSpPr/>
              <p:nvPr/>
            </p:nvSpPr>
            <p:spPr>
              <a:xfrm>
                <a:off x="5480322" y="5492721"/>
                <a:ext cx="156293" cy="140620"/>
              </a:xfrm>
              <a:custGeom>
                <a:avLst/>
                <a:gdLst>
                  <a:gd name="connsiteX0" fmla="*/ 104013 w 208026"/>
                  <a:gd name="connsiteY0" fmla="*/ 0 h 187166"/>
                  <a:gd name="connsiteX1" fmla="*/ 137160 w 208026"/>
                  <a:gd name="connsiteY1" fmla="*/ 62389 h 187166"/>
                  <a:gd name="connsiteX2" fmla="*/ 208026 w 208026"/>
                  <a:gd name="connsiteY2" fmla="*/ 70961 h 187166"/>
                  <a:gd name="connsiteX3" fmla="*/ 156019 w 208026"/>
                  <a:gd name="connsiteY3" fmla="*/ 117824 h 187166"/>
                  <a:gd name="connsiteX4" fmla="*/ 166402 w 208026"/>
                  <a:gd name="connsiteY4" fmla="*/ 187166 h 187166"/>
                  <a:gd name="connsiteX5" fmla="*/ 104013 w 208026"/>
                  <a:gd name="connsiteY5" fmla="*/ 148209 h 187166"/>
                  <a:gd name="connsiteX6" fmla="*/ 41624 w 208026"/>
                  <a:gd name="connsiteY6" fmla="*/ 187166 h 187166"/>
                  <a:gd name="connsiteX7" fmla="*/ 52006 w 208026"/>
                  <a:gd name="connsiteY7" fmla="*/ 117824 h 187166"/>
                  <a:gd name="connsiteX8" fmla="*/ 0 w 208026"/>
                  <a:gd name="connsiteY8" fmla="*/ 70961 h 187166"/>
                  <a:gd name="connsiteX9" fmla="*/ 72771 w 208026"/>
                  <a:gd name="connsiteY9" fmla="*/ 62389 h 187166"/>
                  <a:gd name="connsiteX10" fmla="*/ 104013 w 208026"/>
                  <a:gd name="connsiteY10" fmla="*/ 0 h 18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026" h="187166">
                    <a:moveTo>
                      <a:pt x="104013" y="0"/>
                    </a:moveTo>
                    <a:lnTo>
                      <a:pt x="137160" y="62389"/>
                    </a:lnTo>
                    <a:lnTo>
                      <a:pt x="208026" y="70961"/>
                    </a:lnTo>
                    <a:lnTo>
                      <a:pt x="156019" y="117824"/>
                    </a:lnTo>
                    <a:lnTo>
                      <a:pt x="166402" y="187166"/>
                    </a:lnTo>
                    <a:lnTo>
                      <a:pt x="104013" y="148209"/>
                    </a:lnTo>
                    <a:lnTo>
                      <a:pt x="41624" y="187166"/>
                    </a:lnTo>
                    <a:lnTo>
                      <a:pt x="52006" y="117824"/>
                    </a:lnTo>
                    <a:lnTo>
                      <a:pt x="0" y="70961"/>
                    </a:lnTo>
                    <a:lnTo>
                      <a:pt x="72771" y="62389"/>
                    </a:lnTo>
                    <a:lnTo>
                      <a:pt x="104013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60C52971-FD4D-5DBD-0645-F068D8584A92}"/>
              </a:ext>
            </a:extLst>
          </p:cNvPr>
          <p:cNvGrpSpPr/>
          <p:nvPr/>
        </p:nvGrpSpPr>
        <p:grpSpPr>
          <a:xfrm>
            <a:off x="10020150" y="4237772"/>
            <a:ext cx="443895" cy="443895"/>
            <a:chOff x="9954806" y="4221904"/>
            <a:chExt cx="435149" cy="435149"/>
          </a:xfrm>
        </p:grpSpPr>
        <p:sp>
          <p:nvSpPr>
            <p:cNvPr id="171" name="Diamond 170">
              <a:extLst>
                <a:ext uri="{FF2B5EF4-FFF2-40B4-BE49-F238E27FC236}">
                  <a16:creationId xmlns:a16="http://schemas.microsoft.com/office/drawing/2014/main" id="{C1E34C2E-FD65-4CE7-9A54-81B8E514C0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54806" y="4221904"/>
              <a:ext cx="435149" cy="43514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6564AE98-10A8-547E-BE98-4E1A3067AA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47148" y="4318381"/>
              <a:ext cx="250465" cy="223146"/>
              <a:chOff x="11375430" y="4403666"/>
              <a:chExt cx="786071" cy="700332"/>
            </a:xfrm>
          </p:grpSpPr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2CAEBDCA-19F5-F188-065F-4ADB83CE886F}"/>
                  </a:ext>
                </a:extLst>
              </p:cNvPr>
              <p:cNvSpPr/>
              <p:nvPr/>
            </p:nvSpPr>
            <p:spPr>
              <a:xfrm rot="18931809">
                <a:off x="12023199" y="4730204"/>
                <a:ext cx="138302" cy="138302"/>
              </a:xfrm>
              <a:custGeom>
                <a:avLst/>
                <a:gdLst>
                  <a:gd name="connsiteX0" fmla="*/ 138303 w 138302"/>
                  <a:gd name="connsiteY0" fmla="*/ 69152 h 138302"/>
                  <a:gd name="connsiteX1" fmla="*/ 69152 w 138302"/>
                  <a:gd name="connsiteY1" fmla="*/ 138303 h 138302"/>
                  <a:gd name="connsiteX2" fmla="*/ 0 w 138302"/>
                  <a:gd name="connsiteY2" fmla="*/ 69152 h 138302"/>
                  <a:gd name="connsiteX3" fmla="*/ 69152 w 138302"/>
                  <a:gd name="connsiteY3" fmla="*/ 0 h 138302"/>
                  <a:gd name="connsiteX4" fmla="*/ 138303 w 138302"/>
                  <a:gd name="connsiteY4" fmla="*/ 69152 h 13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2">
                    <a:moveTo>
                      <a:pt x="138303" y="69152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2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A1D5D2BF-DB19-EABA-99C9-2D24D739F6D7}"/>
                  </a:ext>
                </a:extLst>
              </p:cNvPr>
              <p:cNvSpPr/>
              <p:nvPr/>
            </p:nvSpPr>
            <p:spPr>
              <a:xfrm rot="18931809">
                <a:off x="11702648" y="4403666"/>
                <a:ext cx="138302" cy="138303"/>
              </a:xfrm>
              <a:custGeom>
                <a:avLst/>
                <a:gdLst>
                  <a:gd name="connsiteX0" fmla="*/ 138303 w 138302"/>
                  <a:gd name="connsiteY0" fmla="*/ 69151 h 138303"/>
                  <a:gd name="connsiteX1" fmla="*/ 69152 w 138302"/>
                  <a:gd name="connsiteY1" fmla="*/ 138303 h 138303"/>
                  <a:gd name="connsiteX2" fmla="*/ 0 w 138302"/>
                  <a:gd name="connsiteY2" fmla="*/ 69151 h 138303"/>
                  <a:gd name="connsiteX3" fmla="*/ 69152 w 138302"/>
                  <a:gd name="connsiteY3" fmla="*/ 0 h 138303"/>
                  <a:gd name="connsiteX4" fmla="*/ 138303 w 138302"/>
                  <a:gd name="connsiteY4" fmla="*/ 69151 h 138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3">
                    <a:moveTo>
                      <a:pt x="138303" y="69151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1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47EE5D6E-ACD3-C28D-7303-469F67124724}"/>
                  </a:ext>
                </a:extLst>
              </p:cNvPr>
              <p:cNvSpPr/>
              <p:nvPr/>
            </p:nvSpPr>
            <p:spPr>
              <a:xfrm rot="18931809">
                <a:off x="11702648" y="4965696"/>
                <a:ext cx="138302" cy="138302"/>
              </a:xfrm>
              <a:custGeom>
                <a:avLst/>
                <a:gdLst>
                  <a:gd name="connsiteX0" fmla="*/ 138303 w 138302"/>
                  <a:gd name="connsiteY0" fmla="*/ 69152 h 138302"/>
                  <a:gd name="connsiteX1" fmla="*/ 69152 w 138302"/>
                  <a:gd name="connsiteY1" fmla="*/ 138303 h 138302"/>
                  <a:gd name="connsiteX2" fmla="*/ 0 w 138302"/>
                  <a:gd name="connsiteY2" fmla="*/ 69152 h 138302"/>
                  <a:gd name="connsiteX3" fmla="*/ 69152 w 138302"/>
                  <a:gd name="connsiteY3" fmla="*/ 0 h 138302"/>
                  <a:gd name="connsiteX4" fmla="*/ 138303 w 138302"/>
                  <a:gd name="connsiteY4" fmla="*/ 69152 h 13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2">
                    <a:moveTo>
                      <a:pt x="138303" y="69152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2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5BB473DB-346B-EE7F-5B27-CB9CD9B0CE74}"/>
                  </a:ext>
                </a:extLst>
              </p:cNvPr>
              <p:cNvSpPr/>
              <p:nvPr/>
            </p:nvSpPr>
            <p:spPr>
              <a:xfrm rot="18931809">
                <a:off x="11375430" y="4724884"/>
                <a:ext cx="138302" cy="138303"/>
              </a:xfrm>
              <a:custGeom>
                <a:avLst/>
                <a:gdLst>
                  <a:gd name="connsiteX0" fmla="*/ 138303 w 138302"/>
                  <a:gd name="connsiteY0" fmla="*/ 69151 h 138303"/>
                  <a:gd name="connsiteX1" fmla="*/ 69152 w 138302"/>
                  <a:gd name="connsiteY1" fmla="*/ 138303 h 138303"/>
                  <a:gd name="connsiteX2" fmla="*/ 0 w 138302"/>
                  <a:gd name="connsiteY2" fmla="*/ 69151 h 138303"/>
                  <a:gd name="connsiteX3" fmla="*/ 69152 w 138302"/>
                  <a:gd name="connsiteY3" fmla="*/ 0 h 138303"/>
                  <a:gd name="connsiteX4" fmla="*/ 138303 w 138302"/>
                  <a:gd name="connsiteY4" fmla="*/ 69151 h 138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3">
                    <a:moveTo>
                      <a:pt x="138303" y="69151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1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801CE099-313A-AB24-BAF7-19F0F0690C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71799" y="4540667"/>
                <a:ext cx="1101" cy="424239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E5BACE85-E833-5BF8-650A-10DB725FCA74}"/>
                  </a:ext>
                </a:extLst>
              </p:cNvPr>
              <p:cNvCxnSpPr>
                <a:cxnSpLocks/>
                <a:stCxn id="146" idx="2"/>
                <a:endCxn id="148" idx="0"/>
              </p:cNvCxnSpPr>
              <p:nvPr/>
            </p:nvCxnSpPr>
            <p:spPr>
              <a:xfrm flipH="1">
                <a:off x="11493929" y="4521260"/>
                <a:ext cx="228522" cy="224332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7C0F540D-0090-C5DC-9A69-5901FB032602}"/>
                  </a:ext>
                </a:extLst>
              </p:cNvPr>
              <p:cNvCxnSpPr>
                <a:cxnSpLocks/>
                <a:stCxn id="146" idx="1"/>
                <a:endCxn id="145" idx="3"/>
              </p:cNvCxnSpPr>
              <p:nvPr/>
            </p:nvCxnSpPr>
            <p:spPr>
              <a:xfrm>
                <a:off x="11820243" y="4522165"/>
                <a:ext cx="223665" cy="227842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A85C63DF-4BD4-26BF-B312-7D290D1966FC}"/>
                  </a:ext>
                </a:extLst>
              </p:cNvPr>
              <p:cNvCxnSpPr>
                <a:cxnSpLocks/>
                <a:stCxn id="147" idx="0"/>
                <a:endCxn id="145" idx="2"/>
              </p:cNvCxnSpPr>
              <p:nvPr/>
            </p:nvCxnSpPr>
            <p:spPr>
              <a:xfrm flipV="1">
                <a:off x="11821148" y="4847798"/>
                <a:ext cx="221855" cy="138606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BAA6F57C-E053-ED50-B0A1-E7861BCDD70A}"/>
                  </a:ext>
                </a:extLst>
              </p:cNvPr>
              <p:cNvCxnSpPr>
                <a:cxnSpLocks/>
                <a:stCxn id="148" idx="1"/>
                <a:endCxn id="147" idx="3"/>
              </p:cNvCxnSpPr>
              <p:nvPr/>
            </p:nvCxnSpPr>
            <p:spPr>
              <a:xfrm>
                <a:off x="11493025" y="4843383"/>
                <a:ext cx="230332" cy="142116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</p:grp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038B411-4144-FC19-A125-73787C78807E}"/>
              </a:ext>
            </a:extLst>
          </p:cNvPr>
          <p:cNvGrpSpPr>
            <a:grpSpLocks noChangeAspect="1"/>
          </p:cNvGrpSpPr>
          <p:nvPr/>
        </p:nvGrpSpPr>
        <p:grpSpPr>
          <a:xfrm>
            <a:off x="10527082" y="4359784"/>
            <a:ext cx="639596" cy="664270"/>
            <a:chOff x="11298684" y="4376730"/>
            <a:chExt cx="608553" cy="632030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7F7898F-97F6-4872-B7ED-B72E3AA1ED78}"/>
                </a:ext>
              </a:extLst>
            </p:cNvPr>
            <p:cNvSpPr/>
            <p:nvPr/>
          </p:nvSpPr>
          <p:spPr>
            <a:xfrm>
              <a:off x="11298684" y="4376730"/>
              <a:ext cx="605980" cy="177926"/>
            </a:xfrm>
            <a:custGeom>
              <a:avLst/>
              <a:gdLst>
                <a:gd name="connsiteX0" fmla="*/ 605981 w 605980"/>
                <a:gd name="connsiteY0" fmla="*/ 89059 h 177926"/>
                <a:gd name="connsiteX1" fmla="*/ 302895 w 605980"/>
                <a:gd name="connsiteY1" fmla="*/ 177927 h 177926"/>
                <a:gd name="connsiteX2" fmla="*/ 0 w 605980"/>
                <a:gd name="connsiteY2" fmla="*/ 89059 h 177926"/>
                <a:gd name="connsiteX3" fmla="*/ 302800 w 605980"/>
                <a:gd name="connsiteY3" fmla="*/ 0 h 177926"/>
                <a:gd name="connsiteX4" fmla="*/ 605885 w 605980"/>
                <a:gd name="connsiteY4" fmla="*/ 89059 h 177926"/>
                <a:gd name="connsiteX5" fmla="*/ 605885 w 605980"/>
                <a:gd name="connsiteY5" fmla="*/ 89059 h 17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5980" h="177926">
                  <a:moveTo>
                    <a:pt x="605981" y="89059"/>
                  </a:moveTo>
                  <a:cubicBezTo>
                    <a:pt x="605981" y="138017"/>
                    <a:pt x="470345" y="177927"/>
                    <a:pt x="302895" y="177927"/>
                  </a:cubicBezTo>
                  <a:cubicBezTo>
                    <a:pt x="135446" y="177927"/>
                    <a:pt x="0" y="138017"/>
                    <a:pt x="0" y="89059"/>
                  </a:cubicBezTo>
                  <a:cubicBezTo>
                    <a:pt x="0" y="40100"/>
                    <a:pt x="135636" y="0"/>
                    <a:pt x="302800" y="0"/>
                  </a:cubicBezTo>
                  <a:cubicBezTo>
                    <a:pt x="469963" y="0"/>
                    <a:pt x="605885" y="39910"/>
                    <a:pt x="605885" y="89059"/>
                  </a:cubicBezTo>
                  <a:lnTo>
                    <a:pt x="605885" y="89059"/>
                  </a:ln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43708F1-B257-5183-89B8-4644F71986F9}"/>
                </a:ext>
              </a:extLst>
            </p:cNvPr>
            <p:cNvSpPr/>
            <p:nvPr/>
          </p:nvSpPr>
          <p:spPr>
            <a:xfrm>
              <a:off x="11301066" y="4700197"/>
              <a:ext cx="606171" cy="16106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FFBA6FE-AE58-BABA-885B-48DA6B55A999}"/>
                </a:ext>
              </a:extLst>
            </p:cNvPr>
            <p:cNvSpPr/>
            <p:nvPr/>
          </p:nvSpPr>
          <p:spPr>
            <a:xfrm>
              <a:off x="11301066" y="4547416"/>
              <a:ext cx="606171" cy="16106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26CE788-676E-FC29-1DAF-01CAA5F5B299}"/>
                </a:ext>
              </a:extLst>
            </p:cNvPr>
            <p:cNvSpPr/>
            <p:nvPr/>
          </p:nvSpPr>
          <p:spPr>
            <a:xfrm>
              <a:off x="11495376" y="4604280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EC29D55-D8EF-44AA-6345-89FDE321A0A0}"/>
                </a:ext>
              </a:extLst>
            </p:cNvPr>
            <p:cNvSpPr/>
            <p:nvPr/>
          </p:nvSpPr>
          <p:spPr>
            <a:xfrm>
              <a:off x="11577577" y="4604280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1EA8B90-A3CE-E56F-BA96-849E6B926A80}"/>
                </a:ext>
              </a:extLst>
            </p:cNvPr>
            <p:cNvSpPr/>
            <p:nvPr/>
          </p:nvSpPr>
          <p:spPr>
            <a:xfrm>
              <a:off x="11659777" y="4604280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80FD127-8799-5260-9B3E-197B58D90DF7}"/>
                </a:ext>
              </a:extLst>
            </p:cNvPr>
            <p:cNvSpPr/>
            <p:nvPr/>
          </p:nvSpPr>
          <p:spPr>
            <a:xfrm>
              <a:off x="11495376" y="4761157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C9C9CA4-049B-21E8-4FD8-EF0E44DBCFD4}"/>
                </a:ext>
              </a:extLst>
            </p:cNvPr>
            <p:cNvSpPr/>
            <p:nvPr/>
          </p:nvSpPr>
          <p:spPr>
            <a:xfrm>
              <a:off x="11577577" y="4761157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047FC31-DF14-9B02-EFB6-C36C09B25173}"/>
                </a:ext>
              </a:extLst>
            </p:cNvPr>
            <p:cNvSpPr/>
            <p:nvPr/>
          </p:nvSpPr>
          <p:spPr>
            <a:xfrm>
              <a:off x="11659777" y="4761157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6ECB058F-D218-8F07-8BA0-B3774E3D2966}"/>
                </a:ext>
              </a:extLst>
            </p:cNvPr>
            <p:cNvSpPr/>
            <p:nvPr/>
          </p:nvSpPr>
          <p:spPr>
            <a:xfrm>
              <a:off x="11301066" y="4847693"/>
              <a:ext cx="606171" cy="16106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A1144848-1022-D1D5-AAE8-B5C1850F8B1A}"/>
                </a:ext>
              </a:extLst>
            </p:cNvPr>
            <p:cNvSpPr/>
            <p:nvPr/>
          </p:nvSpPr>
          <p:spPr>
            <a:xfrm>
              <a:off x="11495376" y="4908653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3A1EF90E-4774-7B1B-F62A-68FE00CEAD5A}"/>
                </a:ext>
              </a:extLst>
            </p:cNvPr>
            <p:cNvSpPr/>
            <p:nvPr/>
          </p:nvSpPr>
          <p:spPr>
            <a:xfrm>
              <a:off x="11577577" y="4908653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E8E129E-471B-1B66-4EDD-943C509D2DCF}"/>
                </a:ext>
              </a:extLst>
            </p:cNvPr>
            <p:cNvSpPr/>
            <p:nvPr/>
          </p:nvSpPr>
          <p:spPr>
            <a:xfrm>
              <a:off x="11659777" y="4908653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42491884-CC1C-9C9E-A75F-2659EB711E0C}"/>
              </a:ext>
            </a:extLst>
          </p:cNvPr>
          <p:cNvGrpSpPr>
            <a:grpSpLocks noChangeAspect="1"/>
          </p:cNvGrpSpPr>
          <p:nvPr/>
        </p:nvGrpSpPr>
        <p:grpSpPr>
          <a:xfrm>
            <a:off x="10527082" y="2109769"/>
            <a:ext cx="639596" cy="664270"/>
            <a:chOff x="11298684" y="4376730"/>
            <a:chExt cx="608553" cy="632030"/>
          </a:xfrm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B44766F7-4391-4E15-CA25-BB1709114FF2}"/>
                </a:ext>
              </a:extLst>
            </p:cNvPr>
            <p:cNvSpPr/>
            <p:nvPr/>
          </p:nvSpPr>
          <p:spPr>
            <a:xfrm>
              <a:off x="11298684" y="4376730"/>
              <a:ext cx="605980" cy="177926"/>
            </a:xfrm>
            <a:custGeom>
              <a:avLst/>
              <a:gdLst>
                <a:gd name="connsiteX0" fmla="*/ 605981 w 605980"/>
                <a:gd name="connsiteY0" fmla="*/ 89059 h 177926"/>
                <a:gd name="connsiteX1" fmla="*/ 302895 w 605980"/>
                <a:gd name="connsiteY1" fmla="*/ 177927 h 177926"/>
                <a:gd name="connsiteX2" fmla="*/ 0 w 605980"/>
                <a:gd name="connsiteY2" fmla="*/ 89059 h 177926"/>
                <a:gd name="connsiteX3" fmla="*/ 302800 w 605980"/>
                <a:gd name="connsiteY3" fmla="*/ 0 h 177926"/>
                <a:gd name="connsiteX4" fmla="*/ 605885 w 605980"/>
                <a:gd name="connsiteY4" fmla="*/ 89059 h 177926"/>
                <a:gd name="connsiteX5" fmla="*/ 605885 w 605980"/>
                <a:gd name="connsiteY5" fmla="*/ 89059 h 17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5980" h="177926">
                  <a:moveTo>
                    <a:pt x="605981" y="89059"/>
                  </a:moveTo>
                  <a:cubicBezTo>
                    <a:pt x="605981" y="138017"/>
                    <a:pt x="470345" y="177927"/>
                    <a:pt x="302895" y="177927"/>
                  </a:cubicBezTo>
                  <a:cubicBezTo>
                    <a:pt x="135446" y="177927"/>
                    <a:pt x="0" y="138017"/>
                    <a:pt x="0" y="89059"/>
                  </a:cubicBezTo>
                  <a:cubicBezTo>
                    <a:pt x="0" y="40100"/>
                    <a:pt x="135636" y="0"/>
                    <a:pt x="302800" y="0"/>
                  </a:cubicBezTo>
                  <a:cubicBezTo>
                    <a:pt x="469963" y="0"/>
                    <a:pt x="605885" y="39910"/>
                    <a:pt x="605885" y="89059"/>
                  </a:cubicBezTo>
                  <a:lnTo>
                    <a:pt x="605885" y="89059"/>
                  </a:ln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808AEA2C-AB42-FBD1-6B49-8F29805C75A3}"/>
                </a:ext>
              </a:extLst>
            </p:cNvPr>
            <p:cNvSpPr/>
            <p:nvPr/>
          </p:nvSpPr>
          <p:spPr>
            <a:xfrm>
              <a:off x="11301066" y="4700197"/>
              <a:ext cx="606171" cy="16106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70F2E322-FBC0-B32D-197A-04D8BA3A26C8}"/>
                </a:ext>
              </a:extLst>
            </p:cNvPr>
            <p:cNvSpPr/>
            <p:nvPr/>
          </p:nvSpPr>
          <p:spPr>
            <a:xfrm>
              <a:off x="11301066" y="4547416"/>
              <a:ext cx="606171" cy="16106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4A3241E0-7582-AA8D-70E6-43C4D06B5864}"/>
                </a:ext>
              </a:extLst>
            </p:cNvPr>
            <p:cNvSpPr/>
            <p:nvPr/>
          </p:nvSpPr>
          <p:spPr>
            <a:xfrm>
              <a:off x="11495376" y="4604280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CF4E3E00-EB96-987B-7696-C21250675E28}"/>
                </a:ext>
              </a:extLst>
            </p:cNvPr>
            <p:cNvSpPr/>
            <p:nvPr/>
          </p:nvSpPr>
          <p:spPr>
            <a:xfrm>
              <a:off x="11577577" y="4604280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A68AEA54-1981-2C2A-5C43-66A0EB54987A}"/>
                </a:ext>
              </a:extLst>
            </p:cNvPr>
            <p:cNvSpPr/>
            <p:nvPr/>
          </p:nvSpPr>
          <p:spPr>
            <a:xfrm>
              <a:off x="11659777" y="4604280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5C023EB1-A7F8-242B-F4FF-998741C1783C}"/>
                </a:ext>
              </a:extLst>
            </p:cNvPr>
            <p:cNvSpPr/>
            <p:nvPr/>
          </p:nvSpPr>
          <p:spPr>
            <a:xfrm>
              <a:off x="11495376" y="4761157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78577D44-6EB7-67F1-7BFB-DEED6F2285F7}"/>
                </a:ext>
              </a:extLst>
            </p:cNvPr>
            <p:cNvSpPr/>
            <p:nvPr/>
          </p:nvSpPr>
          <p:spPr>
            <a:xfrm>
              <a:off x="11577577" y="4761157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4EECCA14-BF3B-9995-71DD-9F89377DAC7B}"/>
                </a:ext>
              </a:extLst>
            </p:cNvPr>
            <p:cNvSpPr/>
            <p:nvPr/>
          </p:nvSpPr>
          <p:spPr>
            <a:xfrm>
              <a:off x="11659777" y="4761157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CFA6EDE6-B5EF-0AB1-308A-14CDA923FFE7}"/>
                </a:ext>
              </a:extLst>
            </p:cNvPr>
            <p:cNvSpPr/>
            <p:nvPr/>
          </p:nvSpPr>
          <p:spPr>
            <a:xfrm>
              <a:off x="11301066" y="4847693"/>
              <a:ext cx="606171" cy="16106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953F1848-8B4E-ECED-68C3-EB12953D740F}"/>
                </a:ext>
              </a:extLst>
            </p:cNvPr>
            <p:cNvSpPr/>
            <p:nvPr/>
          </p:nvSpPr>
          <p:spPr>
            <a:xfrm>
              <a:off x="11495376" y="4908653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08FB81F1-AB73-8059-CE3C-00889AB4819D}"/>
                </a:ext>
              </a:extLst>
            </p:cNvPr>
            <p:cNvSpPr/>
            <p:nvPr/>
          </p:nvSpPr>
          <p:spPr>
            <a:xfrm>
              <a:off x="11577577" y="4908653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F1DF6029-C978-58D7-10FC-2C04148BAE58}"/>
                </a:ext>
              </a:extLst>
            </p:cNvPr>
            <p:cNvSpPr/>
            <p:nvPr/>
          </p:nvSpPr>
          <p:spPr>
            <a:xfrm>
              <a:off x="11659777" y="4908653"/>
              <a:ext cx="36576" cy="36576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F2F3DF94-1DF9-3BB7-300D-9E0727A6F7A9}"/>
              </a:ext>
            </a:extLst>
          </p:cNvPr>
          <p:cNvGrpSpPr/>
          <p:nvPr/>
        </p:nvGrpSpPr>
        <p:grpSpPr>
          <a:xfrm>
            <a:off x="8696099" y="3289516"/>
            <a:ext cx="639596" cy="348675"/>
            <a:chOff x="11362028" y="3382483"/>
            <a:chExt cx="626993" cy="341805"/>
          </a:xfrm>
        </p:grpSpPr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74223E10-B8EF-DC58-326A-B2F152445E99}"/>
                </a:ext>
              </a:extLst>
            </p:cNvPr>
            <p:cNvSpPr/>
            <p:nvPr/>
          </p:nvSpPr>
          <p:spPr>
            <a:xfrm>
              <a:off x="11362028" y="3382483"/>
              <a:ext cx="624342" cy="183317"/>
            </a:xfrm>
            <a:custGeom>
              <a:avLst/>
              <a:gdLst>
                <a:gd name="connsiteX0" fmla="*/ 605981 w 605980"/>
                <a:gd name="connsiteY0" fmla="*/ 89059 h 177926"/>
                <a:gd name="connsiteX1" fmla="*/ 302895 w 605980"/>
                <a:gd name="connsiteY1" fmla="*/ 177927 h 177926"/>
                <a:gd name="connsiteX2" fmla="*/ 0 w 605980"/>
                <a:gd name="connsiteY2" fmla="*/ 89059 h 177926"/>
                <a:gd name="connsiteX3" fmla="*/ 302800 w 605980"/>
                <a:gd name="connsiteY3" fmla="*/ 0 h 177926"/>
                <a:gd name="connsiteX4" fmla="*/ 605885 w 605980"/>
                <a:gd name="connsiteY4" fmla="*/ 89059 h 177926"/>
                <a:gd name="connsiteX5" fmla="*/ 605885 w 605980"/>
                <a:gd name="connsiteY5" fmla="*/ 89059 h 17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5980" h="177926">
                  <a:moveTo>
                    <a:pt x="605981" y="89059"/>
                  </a:moveTo>
                  <a:cubicBezTo>
                    <a:pt x="605981" y="138017"/>
                    <a:pt x="470345" y="177927"/>
                    <a:pt x="302895" y="177927"/>
                  </a:cubicBezTo>
                  <a:cubicBezTo>
                    <a:pt x="135446" y="177927"/>
                    <a:pt x="0" y="138017"/>
                    <a:pt x="0" y="89059"/>
                  </a:cubicBezTo>
                  <a:cubicBezTo>
                    <a:pt x="0" y="40100"/>
                    <a:pt x="135636" y="0"/>
                    <a:pt x="302800" y="0"/>
                  </a:cubicBezTo>
                  <a:cubicBezTo>
                    <a:pt x="469963" y="0"/>
                    <a:pt x="605885" y="39910"/>
                    <a:pt x="605885" y="89059"/>
                  </a:cubicBezTo>
                  <a:lnTo>
                    <a:pt x="605885" y="89059"/>
                  </a:ln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83A65D02-DD90-A076-A07C-3E52E61B1EC5}"/>
                </a:ext>
              </a:extLst>
            </p:cNvPr>
            <p:cNvSpPr/>
            <p:nvPr/>
          </p:nvSpPr>
          <p:spPr>
            <a:xfrm>
              <a:off x="11364482" y="3558341"/>
              <a:ext cx="624539" cy="165947"/>
            </a:xfrm>
            <a:custGeom>
              <a:avLst/>
              <a:gdLst>
                <a:gd name="connsiteX0" fmla="*/ 606171 w 606171"/>
                <a:gd name="connsiteY0" fmla="*/ 0 h 161067"/>
                <a:gd name="connsiteX1" fmla="*/ 606171 w 606171"/>
                <a:gd name="connsiteY1" fmla="*/ 104584 h 161067"/>
                <a:gd name="connsiteX2" fmla="*/ 293465 w 606171"/>
                <a:gd name="connsiteY2" fmla="*/ 161068 h 161067"/>
                <a:gd name="connsiteX3" fmla="*/ 0 w 606171"/>
                <a:gd name="connsiteY3" fmla="*/ 104584 h 161067"/>
                <a:gd name="connsiteX4" fmla="*/ 0 w 606171"/>
                <a:gd name="connsiteY4" fmla="*/ 0 h 16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71" h="161067">
                  <a:moveTo>
                    <a:pt x="606171" y="0"/>
                  </a:moveTo>
                  <a:lnTo>
                    <a:pt x="606171" y="104584"/>
                  </a:lnTo>
                  <a:cubicBezTo>
                    <a:pt x="606171" y="104584"/>
                    <a:pt x="493395" y="161068"/>
                    <a:pt x="293465" y="161068"/>
                  </a:cubicBezTo>
                  <a:cubicBezTo>
                    <a:pt x="149638" y="161068"/>
                    <a:pt x="0" y="104584"/>
                    <a:pt x="0" y="104584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80593D44-AD73-DF88-1046-43D2E0077FD1}"/>
                </a:ext>
              </a:extLst>
            </p:cNvPr>
            <p:cNvSpPr/>
            <p:nvPr/>
          </p:nvSpPr>
          <p:spPr>
            <a:xfrm>
              <a:off x="11564680" y="3616928"/>
              <a:ext cx="37684" cy="37684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7C304DFA-2D19-1170-0045-10A3D87D7ED5}"/>
                </a:ext>
              </a:extLst>
            </p:cNvPr>
            <p:cNvSpPr/>
            <p:nvPr/>
          </p:nvSpPr>
          <p:spPr>
            <a:xfrm>
              <a:off x="11649372" y="3616928"/>
              <a:ext cx="37684" cy="37684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B33B6D06-494D-4E5E-7BD1-AB6D54000B49}"/>
                </a:ext>
              </a:extLst>
            </p:cNvPr>
            <p:cNvSpPr/>
            <p:nvPr/>
          </p:nvSpPr>
          <p:spPr>
            <a:xfrm>
              <a:off x="11734063" y="3616928"/>
              <a:ext cx="37684" cy="37684"/>
            </a:xfrm>
            <a:custGeom>
              <a:avLst/>
              <a:gdLst>
                <a:gd name="connsiteX0" fmla="*/ 36576 w 36576"/>
                <a:gd name="connsiteY0" fmla="*/ 18288 h 36576"/>
                <a:gd name="connsiteX1" fmla="*/ 18288 w 36576"/>
                <a:gd name="connsiteY1" fmla="*/ 36576 h 36576"/>
                <a:gd name="connsiteX2" fmla="*/ 0 w 36576"/>
                <a:gd name="connsiteY2" fmla="*/ 18288 h 36576"/>
                <a:gd name="connsiteX3" fmla="*/ 18288 w 36576"/>
                <a:gd name="connsiteY3" fmla="*/ 0 h 36576"/>
                <a:gd name="connsiteX4" fmla="*/ 36576 w 36576"/>
                <a:gd name="connsiteY4" fmla="*/ 18288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" h="36576">
                  <a:moveTo>
                    <a:pt x="36576" y="18288"/>
                  </a:moveTo>
                  <a:cubicBezTo>
                    <a:pt x="36576" y="28388"/>
                    <a:pt x="28388" y="36576"/>
                    <a:pt x="18288" y="36576"/>
                  </a:cubicBezTo>
                  <a:cubicBezTo>
                    <a:pt x="8188" y="36576"/>
                    <a:pt x="0" y="28388"/>
                    <a:pt x="0" y="18288"/>
                  </a:cubicBezTo>
                  <a:cubicBezTo>
                    <a:pt x="0" y="8188"/>
                    <a:pt x="8188" y="0"/>
                    <a:pt x="18288" y="0"/>
                  </a:cubicBezTo>
                  <a:cubicBezTo>
                    <a:pt x="28388" y="0"/>
                    <a:pt x="36576" y="8188"/>
                    <a:pt x="36576" y="18288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414555E1-2830-B33B-7FA0-A4DE53980B20}"/>
              </a:ext>
            </a:extLst>
          </p:cNvPr>
          <p:cNvGrpSpPr/>
          <p:nvPr/>
        </p:nvGrpSpPr>
        <p:grpSpPr>
          <a:xfrm>
            <a:off x="2437658" y="1807192"/>
            <a:ext cx="649907" cy="649907"/>
            <a:chOff x="2692040" y="1908175"/>
            <a:chExt cx="637101" cy="637101"/>
          </a:xfrm>
        </p:grpSpPr>
        <p:sp>
          <p:nvSpPr>
            <p:cNvPr id="208" name="Diamond 207">
              <a:extLst>
                <a:ext uri="{FF2B5EF4-FFF2-40B4-BE49-F238E27FC236}">
                  <a16:creationId xmlns:a16="http://schemas.microsoft.com/office/drawing/2014/main" id="{FF8F9B34-C9AA-1A7F-A864-0CD6E4DDB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92040" y="1908175"/>
              <a:ext cx="637101" cy="637101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F133A4A9-EECE-B282-8151-AA0B3D34DBC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27238" y="2049427"/>
              <a:ext cx="366705" cy="326708"/>
              <a:chOff x="11375430" y="4403666"/>
              <a:chExt cx="786071" cy="700332"/>
            </a:xfrm>
          </p:grpSpPr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97E0A03A-8D71-EE2A-7D5C-55F455570E49}"/>
                  </a:ext>
                </a:extLst>
              </p:cNvPr>
              <p:cNvSpPr/>
              <p:nvPr/>
            </p:nvSpPr>
            <p:spPr>
              <a:xfrm rot="18931809">
                <a:off x="12023199" y="4730204"/>
                <a:ext cx="138302" cy="138302"/>
              </a:xfrm>
              <a:custGeom>
                <a:avLst/>
                <a:gdLst>
                  <a:gd name="connsiteX0" fmla="*/ 138303 w 138302"/>
                  <a:gd name="connsiteY0" fmla="*/ 69152 h 138302"/>
                  <a:gd name="connsiteX1" fmla="*/ 69152 w 138302"/>
                  <a:gd name="connsiteY1" fmla="*/ 138303 h 138302"/>
                  <a:gd name="connsiteX2" fmla="*/ 0 w 138302"/>
                  <a:gd name="connsiteY2" fmla="*/ 69152 h 138302"/>
                  <a:gd name="connsiteX3" fmla="*/ 69152 w 138302"/>
                  <a:gd name="connsiteY3" fmla="*/ 0 h 138302"/>
                  <a:gd name="connsiteX4" fmla="*/ 138303 w 138302"/>
                  <a:gd name="connsiteY4" fmla="*/ 69152 h 13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2">
                    <a:moveTo>
                      <a:pt x="138303" y="69152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2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C62B86ED-EA71-01E3-885F-70CE65CD8434}"/>
                  </a:ext>
                </a:extLst>
              </p:cNvPr>
              <p:cNvSpPr/>
              <p:nvPr/>
            </p:nvSpPr>
            <p:spPr>
              <a:xfrm rot="18931809">
                <a:off x="11702648" y="4403666"/>
                <a:ext cx="138302" cy="138303"/>
              </a:xfrm>
              <a:custGeom>
                <a:avLst/>
                <a:gdLst>
                  <a:gd name="connsiteX0" fmla="*/ 138303 w 138302"/>
                  <a:gd name="connsiteY0" fmla="*/ 69151 h 138303"/>
                  <a:gd name="connsiteX1" fmla="*/ 69152 w 138302"/>
                  <a:gd name="connsiteY1" fmla="*/ 138303 h 138303"/>
                  <a:gd name="connsiteX2" fmla="*/ 0 w 138302"/>
                  <a:gd name="connsiteY2" fmla="*/ 69151 h 138303"/>
                  <a:gd name="connsiteX3" fmla="*/ 69152 w 138302"/>
                  <a:gd name="connsiteY3" fmla="*/ 0 h 138303"/>
                  <a:gd name="connsiteX4" fmla="*/ 138303 w 138302"/>
                  <a:gd name="connsiteY4" fmla="*/ 69151 h 138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3">
                    <a:moveTo>
                      <a:pt x="138303" y="69151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1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230D85CA-1024-5168-AE82-4A1D64ABDB28}"/>
                  </a:ext>
                </a:extLst>
              </p:cNvPr>
              <p:cNvSpPr/>
              <p:nvPr/>
            </p:nvSpPr>
            <p:spPr>
              <a:xfrm rot="18931809">
                <a:off x="11702648" y="4965696"/>
                <a:ext cx="138302" cy="138302"/>
              </a:xfrm>
              <a:custGeom>
                <a:avLst/>
                <a:gdLst>
                  <a:gd name="connsiteX0" fmla="*/ 138303 w 138302"/>
                  <a:gd name="connsiteY0" fmla="*/ 69152 h 138302"/>
                  <a:gd name="connsiteX1" fmla="*/ 69152 w 138302"/>
                  <a:gd name="connsiteY1" fmla="*/ 138303 h 138302"/>
                  <a:gd name="connsiteX2" fmla="*/ 0 w 138302"/>
                  <a:gd name="connsiteY2" fmla="*/ 69152 h 138302"/>
                  <a:gd name="connsiteX3" fmla="*/ 69152 w 138302"/>
                  <a:gd name="connsiteY3" fmla="*/ 0 h 138302"/>
                  <a:gd name="connsiteX4" fmla="*/ 138303 w 138302"/>
                  <a:gd name="connsiteY4" fmla="*/ 69152 h 13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2">
                    <a:moveTo>
                      <a:pt x="138303" y="69152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2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5B977D75-36F7-64D3-12DF-A3EFC7AD3A0C}"/>
                  </a:ext>
                </a:extLst>
              </p:cNvPr>
              <p:cNvSpPr/>
              <p:nvPr/>
            </p:nvSpPr>
            <p:spPr>
              <a:xfrm rot="18931809">
                <a:off x="11375430" y="4724884"/>
                <a:ext cx="138302" cy="138303"/>
              </a:xfrm>
              <a:custGeom>
                <a:avLst/>
                <a:gdLst>
                  <a:gd name="connsiteX0" fmla="*/ 138303 w 138302"/>
                  <a:gd name="connsiteY0" fmla="*/ 69151 h 138303"/>
                  <a:gd name="connsiteX1" fmla="*/ 69152 w 138302"/>
                  <a:gd name="connsiteY1" fmla="*/ 138303 h 138303"/>
                  <a:gd name="connsiteX2" fmla="*/ 0 w 138302"/>
                  <a:gd name="connsiteY2" fmla="*/ 69151 h 138303"/>
                  <a:gd name="connsiteX3" fmla="*/ 69152 w 138302"/>
                  <a:gd name="connsiteY3" fmla="*/ 0 h 138303"/>
                  <a:gd name="connsiteX4" fmla="*/ 138303 w 138302"/>
                  <a:gd name="connsiteY4" fmla="*/ 69151 h 138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3">
                    <a:moveTo>
                      <a:pt x="138303" y="69151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1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AC601A15-06A1-B78A-0D3A-4A82A3F762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71799" y="4540667"/>
                <a:ext cx="1101" cy="424239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215" name="Straight Connector 214">
                <a:extLst>
                  <a:ext uri="{FF2B5EF4-FFF2-40B4-BE49-F238E27FC236}">
                    <a16:creationId xmlns:a16="http://schemas.microsoft.com/office/drawing/2014/main" id="{87EF31DA-E364-589F-488A-A5E78BE38045}"/>
                  </a:ext>
                </a:extLst>
              </p:cNvPr>
              <p:cNvCxnSpPr>
                <a:cxnSpLocks/>
                <a:stCxn id="211" idx="2"/>
                <a:endCxn id="213" idx="0"/>
              </p:cNvCxnSpPr>
              <p:nvPr/>
            </p:nvCxnSpPr>
            <p:spPr>
              <a:xfrm flipH="1">
                <a:off x="11493929" y="4521260"/>
                <a:ext cx="228522" cy="224332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A1ADD565-DEC9-0383-9AA8-363B4D978312}"/>
                  </a:ext>
                </a:extLst>
              </p:cNvPr>
              <p:cNvCxnSpPr>
                <a:cxnSpLocks/>
                <a:stCxn id="211" idx="1"/>
                <a:endCxn id="210" idx="3"/>
              </p:cNvCxnSpPr>
              <p:nvPr/>
            </p:nvCxnSpPr>
            <p:spPr>
              <a:xfrm>
                <a:off x="11820243" y="4522165"/>
                <a:ext cx="223665" cy="227842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7838F982-3C7A-1FFD-B8B5-B05165A0DAEB}"/>
                  </a:ext>
                </a:extLst>
              </p:cNvPr>
              <p:cNvCxnSpPr>
                <a:cxnSpLocks/>
                <a:stCxn id="212" idx="0"/>
                <a:endCxn id="210" idx="2"/>
              </p:cNvCxnSpPr>
              <p:nvPr/>
            </p:nvCxnSpPr>
            <p:spPr>
              <a:xfrm flipV="1">
                <a:off x="11821148" y="4847798"/>
                <a:ext cx="221855" cy="138606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B7E7F711-B145-B9FF-B0F0-2B9A9EA26958}"/>
                  </a:ext>
                </a:extLst>
              </p:cNvPr>
              <p:cNvCxnSpPr>
                <a:cxnSpLocks/>
                <a:stCxn id="213" idx="1"/>
                <a:endCxn id="212" idx="3"/>
              </p:cNvCxnSpPr>
              <p:nvPr/>
            </p:nvCxnSpPr>
            <p:spPr>
              <a:xfrm>
                <a:off x="11493025" y="4843383"/>
                <a:ext cx="230332" cy="142116"/>
              </a:xfrm>
              <a:prstGeom prst="line">
                <a:avLst/>
              </a:pr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</p:cxnSp>
        </p:grp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E73DF836-CEF5-6B78-B99A-1AE5F1CA617E}"/>
              </a:ext>
            </a:extLst>
          </p:cNvPr>
          <p:cNvGrpSpPr>
            <a:grpSpLocks noChangeAspect="1"/>
          </p:cNvGrpSpPr>
          <p:nvPr/>
        </p:nvGrpSpPr>
        <p:grpSpPr>
          <a:xfrm>
            <a:off x="2010657" y="2290255"/>
            <a:ext cx="759473" cy="717642"/>
            <a:chOff x="9219401" y="4313491"/>
            <a:chExt cx="615295" cy="581406"/>
          </a:xfrm>
        </p:grpSpPr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32B10BE-34FD-01DD-090A-839AB563462E}"/>
                </a:ext>
              </a:extLst>
            </p:cNvPr>
            <p:cNvSpPr/>
            <p:nvPr/>
          </p:nvSpPr>
          <p:spPr>
            <a:xfrm>
              <a:off x="9219401" y="4313491"/>
              <a:ext cx="615295" cy="433768"/>
            </a:xfrm>
            <a:custGeom>
              <a:avLst/>
              <a:gdLst>
                <a:gd name="connsiteX0" fmla="*/ 402888 w 615295"/>
                <a:gd name="connsiteY0" fmla="*/ 433769 h 433768"/>
                <a:gd name="connsiteX1" fmla="*/ 482898 w 615295"/>
                <a:gd name="connsiteY1" fmla="*/ 433769 h 433768"/>
                <a:gd name="connsiteX2" fmla="*/ 615295 w 615295"/>
                <a:gd name="connsiteY2" fmla="*/ 301371 h 433768"/>
                <a:gd name="connsiteX3" fmla="*/ 496232 w 615295"/>
                <a:gd name="connsiteY3" fmla="*/ 168974 h 433768"/>
                <a:gd name="connsiteX4" fmla="*/ 285730 w 615295"/>
                <a:gd name="connsiteY4" fmla="*/ 1334 h 433768"/>
                <a:gd name="connsiteX5" fmla="*/ 118090 w 615295"/>
                <a:gd name="connsiteY5" fmla="*/ 168974 h 433768"/>
                <a:gd name="connsiteX6" fmla="*/ 932 w 615295"/>
                <a:gd name="connsiteY6" fmla="*/ 314706 h 433768"/>
                <a:gd name="connsiteX7" fmla="*/ 133330 w 615295"/>
                <a:gd name="connsiteY7" fmla="*/ 433769 h 433768"/>
                <a:gd name="connsiteX8" fmla="*/ 198100 w 615295"/>
                <a:gd name="connsiteY8" fmla="*/ 433769 h 4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5295" h="433768">
                  <a:moveTo>
                    <a:pt x="402888" y="433769"/>
                  </a:moveTo>
                  <a:cubicBezTo>
                    <a:pt x="482898" y="433769"/>
                    <a:pt x="482898" y="433769"/>
                    <a:pt x="482898" y="433769"/>
                  </a:cubicBezTo>
                  <a:cubicBezTo>
                    <a:pt x="557193" y="433769"/>
                    <a:pt x="615295" y="372809"/>
                    <a:pt x="615295" y="301371"/>
                  </a:cubicBezTo>
                  <a:cubicBezTo>
                    <a:pt x="615295" y="233744"/>
                    <a:pt x="562908" y="177546"/>
                    <a:pt x="496232" y="168974"/>
                  </a:cubicBezTo>
                  <a:cubicBezTo>
                    <a:pt x="482898" y="64199"/>
                    <a:pt x="389552" y="-11049"/>
                    <a:pt x="285730" y="1334"/>
                  </a:cubicBezTo>
                  <a:cubicBezTo>
                    <a:pt x="199053" y="11811"/>
                    <a:pt x="129520" y="81344"/>
                    <a:pt x="118090" y="168974"/>
                  </a:cubicBezTo>
                  <a:cubicBezTo>
                    <a:pt x="43795" y="177546"/>
                    <a:pt x="-7640" y="242316"/>
                    <a:pt x="932" y="314706"/>
                  </a:cubicBezTo>
                  <a:cubicBezTo>
                    <a:pt x="7600" y="382334"/>
                    <a:pt x="63797" y="431864"/>
                    <a:pt x="133330" y="433769"/>
                  </a:cubicBezTo>
                  <a:cubicBezTo>
                    <a:pt x="198100" y="433769"/>
                    <a:pt x="198100" y="433769"/>
                    <a:pt x="198100" y="433769"/>
                  </a:cubicBezTo>
                </a:path>
              </a:pathLst>
            </a:custGeom>
            <a:solidFill>
              <a:schemeClr val="bg1"/>
            </a:solidFill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F0C9D03C-8B54-52F7-6BEB-A1BDE68B6152}"/>
                </a:ext>
              </a:extLst>
            </p:cNvPr>
            <p:cNvSpPr/>
            <p:nvPr/>
          </p:nvSpPr>
          <p:spPr>
            <a:xfrm>
              <a:off x="9317489" y="4782502"/>
              <a:ext cx="48577" cy="47625"/>
            </a:xfrm>
            <a:custGeom>
              <a:avLst/>
              <a:gdLst>
                <a:gd name="connsiteX0" fmla="*/ 24765 w 48577"/>
                <a:gd name="connsiteY0" fmla="*/ 0 h 47625"/>
                <a:gd name="connsiteX1" fmla="*/ 48578 w 48577"/>
                <a:gd name="connsiteY1" fmla="*/ 23813 h 47625"/>
                <a:gd name="connsiteX2" fmla="*/ 24765 w 48577"/>
                <a:gd name="connsiteY2" fmla="*/ 47625 h 47625"/>
                <a:gd name="connsiteX3" fmla="*/ 0 w 48577"/>
                <a:gd name="connsiteY3" fmla="*/ 23813 h 47625"/>
                <a:gd name="connsiteX4" fmla="*/ 24765 w 48577"/>
                <a:gd name="connsiteY4" fmla="*/ 0 h 47625"/>
                <a:gd name="connsiteX5" fmla="*/ 24765 w 48577"/>
                <a:gd name="connsiteY5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7625">
                  <a:moveTo>
                    <a:pt x="24765" y="0"/>
                  </a:moveTo>
                  <a:cubicBezTo>
                    <a:pt x="38100" y="0"/>
                    <a:pt x="48578" y="10477"/>
                    <a:pt x="48578" y="23813"/>
                  </a:cubicBezTo>
                  <a:cubicBezTo>
                    <a:pt x="48578" y="37147"/>
                    <a:pt x="38100" y="47625"/>
                    <a:pt x="24765" y="47625"/>
                  </a:cubicBezTo>
                  <a:cubicBezTo>
                    <a:pt x="11430" y="47625"/>
                    <a:pt x="0" y="36195"/>
                    <a:pt x="0" y="23813"/>
                  </a:cubicBezTo>
                  <a:cubicBezTo>
                    <a:pt x="0" y="10477"/>
                    <a:pt x="11430" y="0"/>
                    <a:pt x="24765" y="0"/>
                  </a:cubicBezTo>
                  <a:lnTo>
                    <a:pt x="24765" y="0"/>
                  </a:lnTo>
                  <a:close/>
                </a:path>
              </a:pathLst>
            </a:custGeom>
            <a:noFill/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C7FB33B-D74E-10FA-33E5-16D9A503A937}"/>
                </a:ext>
              </a:extLst>
            </p:cNvPr>
            <p:cNvSpPr/>
            <p:nvPr/>
          </p:nvSpPr>
          <p:spPr>
            <a:xfrm>
              <a:off x="9673724" y="4782502"/>
              <a:ext cx="45719" cy="47625"/>
            </a:xfrm>
            <a:custGeom>
              <a:avLst/>
              <a:gdLst>
                <a:gd name="connsiteX0" fmla="*/ 21907 w 45719"/>
                <a:gd name="connsiteY0" fmla="*/ 0 h 47625"/>
                <a:gd name="connsiteX1" fmla="*/ 45720 w 45719"/>
                <a:gd name="connsiteY1" fmla="*/ 23813 h 47625"/>
                <a:gd name="connsiteX2" fmla="*/ 21907 w 45719"/>
                <a:gd name="connsiteY2" fmla="*/ 47625 h 47625"/>
                <a:gd name="connsiteX3" fmla="*/ 0 w 45719"/>
                <a:gd name="connsiteY3" fmla="*/ 23813 h 47625"/>
                <a:gd name="connsiteX4" fmla="*/ 21907 w 45719"/>
                <a:gd name="connsiteY4" fmla="*/ 0 h 47625"/>
                <a:gd name="connsiteX5" fmla="*/ 21907 w 45719"/>
                <a:gd name="connsiteY5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19" h="47625">
                  <a:moveTo>
                    <a:pt x="21907" y="0"/>
                  </a:moveTo>
                  <a:cubicBezTo>
                    <a:pt x="35242" y="0"/>
                    <a:pt x="45720" y="10477"/>
                    <a:pt x="45720" y="23813"/>
                  </a:cubicBezTo>
                  <a:cubicBezTo>
                    <a:pt x="45720" y="37147"/>
                    <a:pt x="35242" y="47625"/>
                    <a:pt x="21907" y="47625"/>
                  </a:cubicBezTo>
                  <a:cubicBezTo>
                    <a:pt x="8572" y="47625"/>
                    <a:pt x="0" y="37147"/>
                    <a:pt x="0" y="23813"/>
                  </a:cubicBezTo>
                  <a:cubicBezTo>
                    <a:pt x="0" y="10477"/>
                    <a:pt x="9525" y="0"/>
                    <a:pt x="21907" y="0"/>
                  </a:cubicBezTo>
                  <a:lnTo>
                    <a:pt x="21907" y="0"/>
                  </a:lnTo>
                  <a:close/>
                </a:path>
              </a:pathLst>
            </a:custGeom>
            <a:noFill/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80D316D6-0BA1-9476-5906-798D0F5DB631}"/>
                </a:ext>
              </a:extLst>
            </p:cNvPr>
            <p:cNvSpPr/>
            <p:nvPr/>
          </p:nvSpPr>
          <p:spPr>
            <a:xfrm>
              <a:off x="9495606" y="4847272"/>
              <a:ext cx="45719" cy="47625"/>
            </a:xfrm>
            <a:custGeom>
              <a:avLst/>
              <a:gdLst>
                <a:gd name="connsiteX0" fmla="*/ 21907 w 45719"/>
                <a:gd name="connsiteY0" fmla="*/ 0 h 47625"/>
                <a:gd name="connsiteX1" fmla="*/ 45720 w 45719"/>
                <a:gd name="connsiteY1" fmla="*/ 23813 h 47625"/>
                <a:gd name="connsiteX2" fmla="*/ 21907 w 45719"/>
                <a:gd name="connsiteY2" fmla="*/ 47625 h 47625"/>
                <a:gd name="connsiteX3" fmla="*/ 0 w 45719"/>
                <a:gd name="connsiteY3" fmla="*/ 23813 h 47625"/>
                <a:gd name="connsiteX4" fmla="*/ 21907 w 45719"/>
                <a:gd name="connsiteY4" fmla="*/ 0 h 47625"/>
                <a:gd name="connsiteX5" fmla="*/ 21907 w 45719"/>
                <a:gd name="connsiteY5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19" h="47625">
                  <a:moveTo>
                    <a:pt x="21907" y="0"/>
                  </a:moveTo>
                  <a:cubicBezTo>
                    <a:pt x="35243" y="0"/>
                    <a:pt x="45720" y="10477"/>
                    <a:pt x="45720" y="23813"/>
                  </a:cubicBezTo>
                  <a:cubicBezTo>
                    <a:pt x="45720" y="37148"/>
                    <a:pt x="35243" y="47625"/>
                    <a:pt x="21907" y="47625"/>
                  </a:cubicBezTo>
                  <a:cubicBezTo>
                    <a:pt x="8572" y="47625"/>
                    <a:pt x="0" y="37148"/>
                    <a:pt x="0" y="23813"/>
                  </a:cubicBezTo>
                  <a:cubicBezTo>
                    <a:pt x="0" y="10477"/>
                    <a:pt x="9525" y="0"/>
                    <a:pt x="21907" y="0"/>
                  </a:cubicBezTo>
                  <a:lnTo>
                    <a:pt x="21907" y="0"/>
                  </a:lnTo>
                  <a:close/>
                </a:path>
              </a:pathLst>
            </a:custGeom>
            <a:noFill/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90AF4856-3CAF-3BE2-EAA6-9ED9EE2F23B3}"/>
                </a:ext>
              </a:extLst>
            </p:cNvPr>
            <p:cNvSpPr/>
            <p:nvPr/>
          </p:nvSpPr>
          <p:spPr>
            <a:xfrm>
              <a:off x="9366066" y="4687252"/>
              <a:ext cx="95250" cy="119062"/>
            </a:xfrm>
            <a:custGeom>
              <a:avLst/>
              <a:gdLst>
                <a:gd name="connsiteX0" fmla="*/ 0 w 95250"/>
                <a:gd name="connsiteY0" fmla="*/ 119063 h 119062"/>
                <a:gd name="connsiteX1" fmla="*/ 93345 w 95250"/>
                <a:gd name="connsiteY1" fmla="*/ 119063 h 119062"/>
                <a:gd name="connsiteX2" fmla="*/ 95250 w 95250"/>
                <a:gd name="connsiteY2" fmla="*/ 117157 h 119062"/>
                <a:gd name="connsiteX3" fmla="*/ 95250 w 95250"/>
                <a:gd name="connsiteY3" fmla="*/ 0 h 11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119062">
                  <a:moveTo>
                    <a:pt x="0" y="119063"/>
                  </a:moveTo>
                  <a:cubicBezTo>
                    <a:pt x="93345" y="119063"/>
                    <a:pt x="93345" y="119063"/>
                    <a:pt x="93345" y="119063"/>
                  </a:cubicBezTo>
                  <a:cubicBezTo>
                    <a:pt x="95250" y="119063"/>
                    <a:pt x="95250" y="117157"/>
                    <a:pt x="95250" y="117157"/>
                  </a:cubicBezTo>
                  <a:cubicBezTo>
                    <a:pt x="95250" y="0"/>
                    <a:pt x="95250" y="0"/>
                    <a:pt x="95250" y="0"/>
                  </a:cubicBezTo>
                </a:path>
              </a:pathLst>
            </a:custGeom>
            <a:noFill/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946DBE00-AF6F-D7E4-42C9-A5E4D9855424}"/>
                </a:ext>
              </a:extLst>
            </p:cNvPr>
            <p:cNvSpPr/>
            <p:nvPr/>
          </p:nvSpPr>
          <p:spPr>
            <a:xfrm>
              <a:off x="9517514" y="4684395"/>
              <a:ext cx="9525" cy="162877"/>
            </a:xfrm>
            <a:custGeom>
              <a:avLst/>
              <a:gdLst>
                <a:gd name="connsiteX0" fmla="*/ 0 w 9525"/>
                <a:gd name="connsiteY0" fmla="*/ 0 h 162877"/>
                <a:gd name="connsiteX1" fmla="*/ 0 w 9525"/>
                <a:gd name="connsiteY1" fmla="*/ 162878 h 162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62877">
                  <a:moveTo>
                    <a:pt x="0" y="0"/>
                  </a:moveTo>
                  <a:lnTo>
                    <a:pt x="0" y="162878"/>
                  </a:lnTo>
                </a:path>
              </a:pathLst>
            </a:custGeom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4BCAB6F-3D03-A5CB-3824-E53AE4A33334}"/>
                </a:ext>
              </a:extLst>
            </p:cNvPr>
            <p:cNvSpPr/>
            <p:nvPr/>
          </p:nvSpPr>
          <p:spPr>
            <a:xfrm>
              <a:off x="9574664" y="4684395"/>
              <a:ext cx="93344" cy="119062"/>
            </a:xfrm>
            <a:custGeom>
              <a:avLst/>
              <a:gdLst>
                <a:gd name="connsiteX0" fmla="*/ 0 w 93344"/>
                <a:gd name="connsiteY0" fmla="*/ 0 h 119062"/>
                <a:gd name="connsiteX1" fmla="*/ 0 w 93344"/>
                <a:gd name="connsiteY1" fmla="*/ 117157 h 119062"/>
                <a:gd name="connsiteX2" fmla="*/ 0 w 93344"/>
                <a:gd name="connsiteY2" fmla="*/ 119063 h 119062"/>
                <a:gd name="connsiteX3" fmla="*/ 93345 w 93344"/>
                <a:gd name="connsiteY3" fmla="*/ 119063 h 11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344" h="119062">
                  <a:moveTo>
                    <a:pt x="0" y="0"/>
                  </a:moveTo>
                  <a:cubicBezTo>
                    <a:pt x="0" y="117157"/>
                    <a:pt x="0" y="117157"/>
                    <a:pt x="0" y="117157"/>
                  </a:cubicBezTo>
                  <a:cubicBezTo>
                    <a:pt x="0" y="119063"/>
                    <a:pt x="0" y="119063"/>
                    <a:pt x="0" y="119063"/>
                  </a:cubicBezTo>
                  <a:cubicBezTo>
                    <a:pt x="93345" y="119063"/>
                    <a:pt x="93345" y="119063"/>
                    <a:pt x="93345" y="119063"/>
                  </a:cubicBezTo>
                </a:path>
              </a:pathLst>
            </a:custGeom>
            <a:noFill/>
            <a:ln w="6350" cap="sq">
              <a:solidFill>
                <a:schemeClr val="accent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93202372-39ED-3CE9-85B0-8F2E52A3F1D4}"/>
              </a:ext>
            </a:extLst>
          </p:cNvPr>
          <p:cNvGrpSpPr>
            <a:grpSpLocks noChangeAspect="1"/>
          </p:cNvGrpSpPr>
          <p:nvPr/>
        </p:nvGrpSpPr>
        <p:grpSpPr>
          <a:xfrm>
            <a:off x="2231924" y="3373302"/>
            <a:ext cx="447885" cy="352571"/>
            <a:chOff x="4936022" y="5372976"/>
            <a:chExt cx="642828" cy="506029"/>
          </a:xfrm>
          <a:noFill/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A49894EF-DA56-0F39-9ECC-60B07F2FA7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36022" y="5372976"/>
              <a:ext cx="501755" cy="345104"/>
              <a:chOff x="4838886" y="5322453"/>
              <a:chExt cx="607123" cy="417575"/>
            </a:xfrm>
            <a:grpFill/>
          </p:grpSpPr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9B22A203-FC78-E14E-DE88-43CA4B4549D4}"/>
                  </a:ext>
                </a:extLst>
              </p:cNvPr>
              <p:cNvSpPr/>
              <p:nvPr/>
            </p:nvSpPr>
            <p:spPr>
              <a:xfrm rot="16200000">
                <a:off x="4933660" y="5227679"/>
                <a:ext cx="417575" cy="607123"/>
              </a:xfrm>
              <a:custGeom>
                <a:avLst/>
                <a:gdLst>
                  <a:gd name="connsiteX0" fmla="*/ 67056 w 417575"/>
                  <a:gd name="connsiteY0" fmla="*/ 607124 h 607123"/>
                  <a:gd name="connsiteX1" fmla="*/ 12478 w 417575"/>
                  <a:gd name="connsiteY1" fmla="*/ 607124 h 607123"/>
                  <a:gd name="connsiteX2" fmla="*/ 0 w 417575"/>
                  <a:gd name="connsiteY2" fmla="*/ 594646 h 607123"/>
                  <a:gd name="connsiteX3" fmla="*/ 0 w 417575"/>
                  <a:gd name="connsiteY3" fmla="*/ 12478 h 607123"/>
                  <a:gd name="connsiteX4" fmla="*/ 12478 w 417575"/>
                  <a:gd name="connsiteY4" fmla="*/ 0 h 607123"/>
                  <a:gd name="connsiteX5" fmla="*/ 323088 w 417575"/>
                  <a:gd name="connsiteY5" fmla="*/ 0 h 607123"/>
                  <a:gd name="connsiteX6" fmla="*/ 417576 w 417575"/>
                  <a:gd name="connsiteY6" fmla="*/ 94012 h 607123"/>
                  <a:gd name="connsiteX7" fmla="*/ 417576 w 417575"/>
                  <a:gd name="connsiteY7" fmla="*/ 594646 h 607123"/>
                  <a:gd name="connsiteX8" fmla="*/ 405098 w 417575"/>
                  <a:gd name="connsiteY8" fmla="*/ 607124 h 607123"/>
                  <a:gd name="connsiteX9" fmla="*/ 67056 w 417575"/>
                  <a:gd name="connsiteY9" fmla="*/ 607124 h 607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7575" h="607123">
                    <a:moveTo>
                      <a:pt x="67056" y="607124"/>
                    </a:moveTo>
                    <a:lnTo>
                      <a:pt x="12478" y="607124"/>
                    </a:lnTo>
                    <a:cubicBezTo>
                      <a:pt x="5620" y="607124"/>
                      <a:pt x="0" y="601504"/>
                      <a:pt x="0" y="594646"/>
                    </a:cubicBezTo>
                    <a:lnTo>
                      <a:pt x="0" y="12478"/>
                    </a:lnTo>
                    <a:cubicBezTo>
                      <a:pt x="0" y="5620"/>
                      <a:pt x="5620" y="0"/>
                      <a:pt x="12478" y="0"/>
                    </a:cubicBezTo>
                    <a:lnTo>
                      <a:pt x="323088" y="0"/>
                    </a:lnTo>
                    <a:lnTo>
                      <a:pt x="417576" y="94012"/>
                    </a:lnTo>
                    <a:lnTo>
                      <a:pt x="417576" y="594646"/>
                    </a:lnTo>
                    <a:cubicBezTo>
                      <a:pt x="417576" y="601504"/>
                      <a:pt x="411956" y="607124"/>
                      <a:pt x="405098" y="607124"/>
                    </a:cubicBezTo>
                    <a:lnTo>
                      <a:pt x="67056" y="607124"/>
                    </a:lnTo>
                    <a:close/>
                  </a:path>
                </a:pathLst>
              </a:custGeom>
              <a:grpFill/>
              <a:ln w="6350" cap="sq">
                <a:solidFill>
                  <a:srgbClr val="098E7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CB5DBBC-8AFD-FA90-5A2C-F94765E3405D}"/>
                  </a:ext>
                </a:extLst>
              </p:cNvPr>
              <p:cNvSpPr/>
              <p:nvPr/>
            </p:nvSpPr>
            <p:spPr>
              <a:xfrm rot="16200000">
                <a:off x="4845506" y="5328691"/>
                <a:ext cx="105155" cy="98393"/>
              </a:xfrm>
              <a:custGeom>
                <a:avLst/>
                <a:gdLst>
                  <a:gd name="connsiteX0" fmla="*/ 0 w 105155"/>
                  <a:gd name="connsiteY0" fmla="*/ 0 h 98393"/>
                  <a:gd name="connsiteX1" fmla="*/ 0 w 105155"/>
                  <a:gd name="connsiteY1" fmla="*/ 98393 h 98393"/>
                  <a:gd name="connsiteX2" fmla="*/ 105156 w 105155"/>
                  <a:gd name="connsiteY2" fmla="*/ 98393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55" h="98393">
                    <a:moveTo>
                      <a:pt x="0" y="0"/>
                    </a:moveTo>
                    <a:lnTo>
                      <a:pt x="0" y="98393"/>
                    </a:lnTo>
                    <a:lnTo>
                      <a:pt x="105156" y="98393"/>
                    </a:lnTo>
                  </a:path>
                </a:pathLst>
              </a:custGeom>
              <a:grpFill/>
              <a:ln w="6350" cap="sq">
                <a:solidFill>
                  <a:srgbClr val="098E7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D2DE729C-3C97-792A-CB98-68D4B68337D2}"/>
                </a:ext>
              </a:extLst>
            </p:cNvPr>
            <p:cNvGrpSpPr/>
            <p:nvPr/>
          </p:nvGrpSpPr>
          <p:grpSpPr>
            <a:xfrm>
              <a:off x="5280195" y="5515455"/>
              <a:ext cx="298655" cy="363550"/>
              <a:chOff x="5275242" y="5490288"/>
              <a:chExt cx="361373" cy="439895"/>
            </a:xfrm>
            <a:grpFill/>
          </p:grpSpPr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6F5E16E1-960C-60E6-E235-2F6649151FC3}"/>
                  </a:ext>
                </a:extLst>
              </p:cNvPr>
              <p:cNvGrpSpPr/>
              <p:nvPr/>
            </p:nvGrpSpPr>
            <p:grpSpPr>
              <a:xfrm>
                <a:off x="5275242" y="5490288"/>
                <a:ext cx="277806" cy="439895"/>
                <a:chOff x="5275242" y="5490288"/>
                <a:chExt cx="277806" cy="439895"/>
              </a:xfrm>
              <a:grpFill/>
            </p:grpSpPr>
            <p:sp>
              <p:nvSpPr>
                <p:cNvPr id="88" name="Freeform: Shape 87">
                  <a:extLst>
                    <a:ext uri="{FF2B5EF4-FFF2-40B4-BE49-F238E27FC236}">
                      <a16:creationId xmlns:a16="http://schemas.microsoft.com/office/drawing/2014/main" id="{B5DE9056-F977-973B-D9FE-63D81986705E}"/>
                    </a:ext>
                  </a:extLst>
                </p:cNvPr>
                <p:cNvSpPr/>
                <p:nvPr/>
              </p:nvSpPr>
              <p:spPr>
                <a:xfrm>
                  <a:off x="5326410" y="5737608"/>
                  <a:ext cx="187494" cy="192575"/>
                </a:xfrm>
                <a:custGeom>
                  <a:avLst/>
                  <a:gdLst>
                    <a:gd name="connsiteX0" fmla="*/ 0 w 249554"/>
                    <a:gd name="connsiteY0" fmla="*/ 9906 h 256317"/>
                    <a:gd name="connsiteX1" fmla="*/ 0 w 249554"/>
                    <a:gd name="connsiteY1" fmla="*/ 256318 h 256317"/>
                    <a:gd name="connsiteX2" fmla="*/ 124778 w 249554"/>
                    <a:gd name="connsiteY2" fmla="*/ 173165 h 256317"/>
                    <a:gd name="connsiteX3" fmla="*/ 249555 w 249554"/>
                    <a:gd name="connsiteY3" fmla="*/ 256318 h 256317"/>
                    <a:gd name="connsiteX4" fmla="*/ 249555 w 249554"/>
                    <a:gd name="connsiteY4" fmla="*/ 0 h 256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9554" h="256317">
                      <a:moveTo>
                        <a:pt x="0" y="9906"/>
                      </a:moveTo>
                      <a:lnTo>
                        <a:pt x="0" y="256318"/>
                      </a:lnTo>
                      <a:lnTo>
                        <a:pt x="124778" y="173165"/>
                      </a:lnTo>
                      <a:lnTo>
                        <a:pt x="249555" y="256318"/>
                      </a:lnTo>
                      <a:lnTo>
                        <a:pt x="249555" y="0"/>
                      </a:lnTo>
                    </a:path>
                  </a:pathLst>
                </a:custGeom>
                <a:grpFill/>
                <a:ln w="6350" cap="rnd">
                  <a:solidFill>
                    <a:srgbClr val="098E7E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7F15930F-FF36-D4C5-5078-1007E3DC7059}"/>
                    </a:ext>
                  </a:extLst>
                </p:cNvPr>
                <p:cNvSpPr/>
                <p:nvPr/>
              </p:nvSpPr>
              <p:spPr>
                <a:xfrm>
                  <a:off x="5275242" y="5490288"/>
                  <a:ext cx="277806" cy="284819"/>
                </a:xfrm>
                <a:custGeom>
                  <a:avLst/>
                  <a:gdLst>
                    <a:gd name="connsiteX0" fmla="*/ 369761 w 369760"/>
                    <a:gd name="connsiteY0" fmla="*/ 248603 h 379094"/>
                    <a:gd name="connsiteX1" fmla="*/ 189548 w 369760"/>
                    <a:gd name="connsiteY1" fmla="*/ 379095 h 379094"/>
                    <a:gd name="connsiteX2" fmla="*/ 0 w 369760"/>
                    <a:gd name="connsiteY2" fmla="*/ 189548 h 379094"/>
                    <a:gd name="connsiteX3" fmla="*/ 189643 w 369760"/>
                    <a:gd name="connsiteY3" fmla="*/ 0 h 379094"/>
                    <a:gd name="connsiteX4" fmla="*/ 227838 w 369760"/>
                    <a:gd name="connsiteY4" fmla="*/ 3810 h 379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9760" h="379094">
                      <a:moveTo>
                        <a:pt x="369761" y="248603"/>
                      </a:moveTo>
                      <a:cubicBezTo>
                        <a:pt x="344900" y="324326"/>
                        <a:pt x="273653" y="379095"/>
                        <a:pt x="189548" y="379095"/>
                      </a:cubicBezTo>
                      <a:cubicBezTo>
                        <a:pt x="84868" y="379095"/>
                        <a:pt x="0" y="294227"/>
                        <a:pt x="0" y="189548"/>
                      </a:cubicBezTo>
                      <a:cubicBezTo>
                        <a:pt x="0" y="84868"/>
                        <a:pt x="84963" y="0"/>
                        <a:pt x="189643" y="0"/>
                      </a:cubicBezTo>
                      <a:cubicBezTo>
                        <a:pt x="202692" y="0"/>
                        <a:pt x="215551" y="1333"/>
                        <a:pt x="227838" y="3810"/>
                      </a:cubicBezTo>
                    </a:path>
                  </a:pathLst>
                </a:custGeom>
                <a:solidFill>
                  <a:srgbClr val="ACEAFF"/>
                </a:solidFill>
                <a:ln w="6350" cap="flat">
                  <a:solidFill>
                    <a:srgbClr val="098E7E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63CB71F2-D7FB-F55A-D26D-6C8CE963A287}"/>
                  </a:ext>
                </a:extLst>
              </p:cNvPr>
              <p:cNvSpPr/>
              <p:nvPr/>
            </p:nvSpPr>
            <p:spPr>
              <a:xfrm>
                <a:off x="5480322" y="5492721"/>
                <a:ext cx="156293" cy="140620"/>
              </a:xfrm>
              <a:custGeom>
                <a:avLst/>
                <a:gdLst>
                  <a:gd name="connsiteX0" fmla="*/ 104013 w 208026"/>
                  <a:gd name="connsiteY0" fmla="*/ 0 h 187166"/>
                  <a:gd name="connsiteX1" fmla="*/ 137160 w 208026"/>
                  <a:gd name="connsiteY1" fmla="*/ 62389 h 187166"/>
                  <a:gd name="connsiteX2" fmla="*/ 208026 w 208026"/>
                  <a:gd name="connsiteY2" fmla="*/ 70961 h 187166"/>
                  <a:gd name="connsiteX3" fmla="*/ 156019 w 208026"/>
                  <a:gd name="connsiteY3" fmla="*/ 117824 h 187166"/>
                  <a:gd name="connsiteX4" fmla="*/ 166402 w 208026"/>
                  <a:gd name="connsiteY4" fmla="*/ 187166 h 187166"/>
                  <a:gd name="connsiteX5" fmla="*/ 104013 w 208026"/>
                  <a:gd name="connsiteY5" fmla="*/ 148209 h 187166"/>
                  <a:gd name="connsiteX6" fmla="*/ 41624 w 208026"/>
                  <a:gd name="connsiteY6" fmla="*/ 187166 h 187166"/>
                  <a:gd name="connsiteX7" fmla="*/ 52006 w 208026"/>
                  <a:gd name="connsiteY7" fmla="*/ 117824 h 187166"/>
                  <a:gd name="connsiteX8" fmla="*/ 0 w 208026"/>
                  <a:gd name="connsiteY8" fmla="*/ 70961 h 187166"/>
                  <a:gd name="connsiteX9" fmla="*/ 72771 w 208026"/>
                  <a:gd name="connsiteY9" fmla="*/ 62389 h 187166"/>
                  <a:gd name="connsiteX10" fmla="*/ 104013 w 208026"/>
                  <a:gd name="connsiteY10" fmla="*/ 0 h 18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026" h="187166">
                    <a:moveTo>
                      <a:pt x="104013" y="0"/>
                    </a:moveTo>
                    <a:lnTo>
                      <a:pt x="137160" y="62389"/>
                    </a:lnTo>
                    <a:lnTo>
                      <a:pt x="208026" y="70961"/>
                    </a:lnTo>
                    <a:lnTo>
                      <a:pt x="156019" y="117824"/>
                    </a:lnTo>
                    <a:lnTo>
                      <a:pt x="166402" y="187166"/>
                    </a:lnTo>
                    <a:lnTo>
                      <a:pt x="104013" y="148209"/>
                    </a:lnTo>
                    <a:lnTo>
                      <a:pt x="41624" y="187166"/>
                    </a:lnTo>
                    <a:lnTo>
                      <a:pt x="52006" y="117824"/>
                    </a:lnTo>
                    <a:lnTo>
                      <a:pt x="0" y="70961"/>
                    </a:lnTo>
                    <a:lnTo>
                      <a:pt x="72771" y="62389"/>
                    </a:lnTo>
                    <a:lnTo>
                      <a:pt x="104013" y="0"/>
                    </a:lnTo>
                    <a:close/>
                  </a:path>
                </a:pathLst>
              </a:custGeom>
              <a:solidFill>
                <a:srgbClr val="ACEAFF"/>
              </a:solidFill>
              <a:ln w="6350" cap="flat">
                <a:solidFill>
                  <a:srgbClr val="098E7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2763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4B6B02-500E-0D2A-C38E-8C8C14D54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74320" lvl="2" indent="-274320">
              <a:buFont typeface="+mj-lt"/>
              <a:buAutoNum type="arabicPeriod"/>
            </a:pPr>
            <a:r>
              <a:rPr lang="en-US" dirty="0"/>
              <a:t>The user enters the URL to access the on premises application through Application Proxy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Application Proxy redirects the request to Microsoft </a:t>
            </a:r>
            <a:r>
              <a:rPr lang="en-US" dirty="0" err="1"/>
              <a:t>Entra</a:t>
            </a:r>
            <a:r>
              <a:rPr lang="en-US" dirty="0"/>
              <a:t> authentication services to </a:t>
            </a:r>
            <a:r>
              <a:rPr lang="en-US" dirty="0" err="1"/>
              <a:t>preauthenticate</a:t>
            </a:r>
            <a:r>
              <a:rPr lang="en-US" dirty="0"/>
              <a:t>. At this point, Microsoft </a:t>
            </a:r>
            <a:r>
              <a:rPr lang="en-US" dirty="0" err="1"/>
              <a:t>Entra</a:t>
            </a:r>
            <a:r>
              <a:rPr lang="en-US" dirty="0"/>
              <a:t> ID applies any applicable authentication and authorization policies, such as multifactor authentication. If the user is validated, Microsoft </a:t>
            </a:r>
            <a:r>
              <a:rPr lang="en-US" dirty="0" err="1"/>
              <a:t>Entra</a:t>
            </a:r>
            <a:r>
              <a:rPr lang="en-US" dirty="0"/>
              <a:t> ID creates a token and sends it to the user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The user passes the token to Application Proxy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Application Proxy validates the token and retrieves the User Principal Name (UPN) from it, and then the Connector pulls the UPN, and the Service Principal Name (SPN) through a dually authenticated secure channel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The Connector performs Kerberos Constrained Delegation (KCD) negotiation with the on premises AD, impersonating the user to get a Kerberos token to the application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Active Directory sends the Kerberos token for the application to the Connector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The Connector sends the original request to the application server, using the Kerberos token it received from AD.</a:t>
            </a:r>
          </a:p>
          <a:p>
            <a:pPr marL="274320" lvl="2" indent="-274320">
              <a:buFont typeface="+mj-lt"/>
              <a:buAutoNum type="arabicPeriod"/>
            </a:pPr>
            <a:r>
              <a:rPr lang="en-US" dirty="0"/>
              <a:t>The application sends the response to the Connector, which is then returned to the Application Proxy service and finally to the user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35AB22-025E-377E-4BBF-FF6697A98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ingle sign-on with KCD works (Steps explanation)</a:t>
            </a:r>
          </a:p>
        </p:txBody>
      </p:sp>
    </p:spTree>
    <p:extLst>
      <p:ext uri="{BB962C8B-B14F-4D97-AF65-F5344CB8AC3E}">
        <p14:creationId xmlns:p14="http://schemas.microsoft.com/office/powerpoint/2010/main" val="2821400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rrow: Down 12">
            <a:extLst>
              <a:ext uri="{FF2B5EF4-FFF2-40B4-BE49-F238E27FC236}">
                <a16:creationId xmlns:a16="http://schemas.microsoft.com/office/drawing/2014/main" id="{9CCE8221-CCB0-8883-CE5A-3003C3F959E1}"/>
              </a:ext>
            </a:extLst>
          </p:cNvPr>
          <p:cNvSpPr/>
          <p:nvPr/>
        </p:nvSpPr>
        <p:spPr>
          <a:xfrm rot="14396532">
            <a:off x="5480924" y="3004330"/>
            <a:ext cx="169368" cy="2414924"/>
          </a:xfrm>
          <a:prstGeom prst="downArrow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72AFB2-394B-F0FE-1818-0F16CF381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</p:spPr>
        <p:txBody>
          <a:bodyPr/>
          <a:lstStyle/>
          <a:p>
            <a:r>
              <a:rPr lang="en-US" dirty="0"/>
              <a:t>Hybrid identity required Ports and Protocols</a:t>
            </a:r>
          </a:p>
        </p:txBody>
      </p:sp>
      <p:sp>
        <p:nvSpPr>
          <p:cNvPr id="3" name="Arrow: Left-Right 2">
            <a:extLst>
              <a:ext uri="{FF2B5EF4-FFF2-40B4-BE49-F238E27FC236}">
                <a16:creationId xmlns:a16="http://schemas.microsoft.com/office/drawing/2014/main" id="{8EC344AA-4482-46DB-9690-0C10B4EE68F5}"/>
              </a:ext>
            </a:extLst>
          </p:cNvPr>
          <p:cNvSpPr/>
          <p:nvPr/>
        </p:nvSpPr>
        <p:spPr>
          <a:xfrm>
            <a:off x="2378281" y="3142829"/>
            <a:ext cx="1479547" cy="151140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5" name="Arrow: Left-Right 4">
            <a:extLst>
              <a:ext uri="{FF2B5EF4-FFF2-40B4-BE49-F238E27FC236}">
                <a16:creationId xmlns:a16="http://schemas.microsoft.com/office/drawing/2014/main" id="{B2C437D1-A464-F6E5-9336-997B619FD902}"/>
              </a:ext>
            </a:extLst>
          </p:cNvPr>
          <p:cNvSpPr/>
          <p:nvPr/>
        </p:nvSpPr>
        <p:spPr>
          <a:xfrm>
            <a:off x="4443301" y="3142829"/>
            <a:ext cx="2011930" cy="151140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761386-DC40-B4BB-213F-47A6B88E6534}"/>
              </a:ext>
            </a:extLst>
          </p:cNvPr>
          <p:cNvSpPr txBox="1"/>
          <p:nvPr/>
        </p:nvSpPr>
        <p:spPr>
          <a:xfrm>
            <a:off x="1596848" y="3589432"/>
            <a:ext cx="1115690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On-premises Active</a:t>
            </a:r>
            <a:br>
              <a:rPr lang="en-US" sz="1000" dirty="0"/>
            </a:br>
            <a:r>
              <a:rPr lang="en-US" sz="1000" dirty="0"/>
              <a:t>Directo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0BD4CC-39B8-3FF2-EDB2-56DA0C5733E0}"/>
              </a:ext>
            </a:extLst>
          </p:cNvPr>
          <p:cNvSpPr txBox="1"/>
          <p:nvPr/>
        </p:nvSpPr>
        <p:spPr>
          <a:xfrm>
            <a:off x="2515494" y="2641933"/>
            <a:ext cx="1205119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1 – Azure AD Connect and </a:t>
            </a:r>
            <a:br>
              <a:rPr lang="en-US" sz="1000" dirty="0"/>
            </a:br>
            <a:r>
              <a:rPr lang="en-US" sz="1000" dirty="0"/>
              <a:t>on-premises A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AD8AFE-5E65-B014-7DF7-D61B67E8DA4D}"/>
              </a:ext>
            </a:extLst>
          </p:cNvPr>
          <p:cNvSpPr txBox="1"/>
          <p:nvPr/>
        </p:nvSpPr>
        <p:spPr>
          <a:xfrm>
            <a:off x="2515495" y="3296717"/>
            <a:ext cx="1205119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Configure, Syn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F9968D-8EB0-C0A7-B5AA-857DE0092D30}"/>
              </a:ext>
            </a:extLst>
          </p:cNvPr>
          <p:cNvSpPr txBox="1"/>
          <p:nvPr/>
        </p:nvSpPr>
        <p:spPr>
          <a:xfrm>
            <a:off x="4846707" y="2521807"/>
            <a:ext cx="120511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7a &amp; 7b</a:t>
            </a:r>
            <a:br>
              <a:rPr lang="en-US" sz="1000" dirty="0"/>
            </a:br>
            <a:r>
              <a:rPr lang="en-US" sz="1000" dirty="0"/>
              <a:t>Azure AD Connect</a:t>
            </a:r>
            <a:br>
              <a:rPr lang="en-US" sz="1000" dirty="0"/>
            </a:br>
            <a:r>
              <a:rPr lang="en-US" sz="1000" dirty="0"/>
              <a:t>Health for sync and</a:t>
            </a:r>
            <a:br>
              <a:rPr lang="en-US" sz="1000" dirty="0"/>
            </a:br>
            <a:r>
              <a:rPr lang="en-US" sz="1000" dirty="0"/>
              <a:t>Azure A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2BD57D-CEB1-7F04-0A9E-9EDC3441165E}"/>
              </a:ext>
            </a:extLst>
          </p:cNvPr>
          <p:cNvSpPr txBox="1"/>
          <p:nvPr/>
        </p:nvSpPr>
        <p:spPr>
          <a:xfrm>
            <a:off x="4830090" y="3293969"/>
            <a:ext cx="145819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2 – Table 6a &amp; 6b</a:t>
            </a:r>
            <a:br>
              <a:rPr lang="en-US" sz="1000" dirty="0"/>
            </a:br>
            <a:r>
              <a:rPr lang="en-US" sz="1000" dirty="0"/>
              <a:t>Azure AD Connect and</a:t>
            </a:r>
            <a:br>
              <a:rPr lang="en-US" sz="1000" dirty="0"/>
            </a:br>
            <a:r>
              <a:rPr lang="en-US" sz="1000" dirty="0"/>
              <a:t>Azure AD</a:t>
            </a: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CEC1B4CE-02C2-AC11-5951-7036B8B6D16A}"/>
              </a:ext>
            </a:extLst>
          </p:cNvPr>
          <p:cNvSpPr/>
          <p:nvPr/>
        </p:nvSpPr>
        <p:spPr>
          <a:xfrm>
            <a:off x="4194597" y="3930649"/>
            <a:ext cx="169368" cy="810419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9C3B5F3-4C31-A56D-EF45-8B4AB404A303}"/>
              </a:ext>
            </a:extLst>
          </p:cNvPr>
          <p:cNvSpPr/>
          <p:nvPr/>
        </p:nvSpPr>
        <p:spPr>
          <a:xfrm rot="18006110">
            <a:off x="5589767" y="3041934"/>
            <a:ext cx="169368" cy="2348082"/>
          </a:xfrm>
          <a:prstGeom prst="downArrow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5F3189-395F-D3EC-EFB3-A802529AD663}"/>
              </a:ext>
            </a:extLst>
          </p:cNvPr>
          <p:cNvSpPr txBox="1"/>
          <p:nvPr/>
        </p:nvSpPr>
        <p:spPr>
          <a:xfrm>
            <a:off x="2903909" y="4082768"/>
            <a:ext cx="120511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3 – Azure AD Connect and Federation</a:t>
            </a:r>
            <a:br>
              <a:rPr lang="en-US" sz="1000" dirty="0"/>
            </a:br>
            <a:r>
              <a:rPr lang="en-US" sz="1000" dirty="0"/>
              <a:t>Servers/WA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066EC1-4734-3CA2-FCA6-654F9BA27A71}"/>
              </a:ext>
            </a:extLst>
          </p:cNvPr>
          <p:cNvSpPr txBox="1"/>
          <p:nvPr/>
        </p:nvSpPr>
        <p:spPr>
          <a:xfrm>
            <a:off x="3531489" y="3617530"/>
            <a:ext cx="1095563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Azure AD Connect</a:t>
            </a:r>
            <a:br>
              <a:rPr lang="en-US" sz="1000" dirty="0"/>
            </a:br>
            <a:r>
              <a:rPr lang="en-US" sz="1000" dirty="0"/>
              <a:t>Serv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A1C690-A0A5-5461-63FA-0D26FE95ADB7}"/>
              </a:ext>
            </a:extLst>
          </p:cNvPr>
          <p:cNvSpPr txBox="1"/>
          <p:nvPr/>
        </p:nvSpPr>
        <p:spPr>
          <a:xfrm>
            <a:off x="5034880" y="4471571"/>
            <a:ext cx="120511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7a &amp; 7b</a:t>
            </a:r>
            <a:br>
              <a:rPr lang="en-US" sz="1000" dirty="0"/>
            </a:br>
            <a:r>
              <a:rPr lang="en-US" sz="1000" dirty="0"/>
              <a:t>Azure AD Connect</a:t>
            </a:r>
            <a:br>
              <a:rPr lang="en-US" sz="1000" dirty="0"/>
            </a:br>
            <a:r>
              <a:rPr lang="en-US" sz="1000" dirty="0"/>
              <a:t>Health for sync and</a:t>
            </a:r>
            <a:br>
              <a:rPr lang="en-US" sz="1000" dirty="0"/>
            </a:br>
            <a:r>
              <a:rPr lang="en-US" sz="1000" dirty="0"/>
              <a:t>Azure A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E0BA04-9846-53DA-D48F-8967EAA9D664}"/>
              </a:ext>
            </a:extLst>
          </p:cNvPr>
          <p:cNvSpPr txBox="1"/>
          <p:nvPr/>
        </p:nvSpPr>
        <p:spPr>
          <a:xfrm>
            <a:off x="5148687" y="5228519"/>
            <a:ext cx="1205119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4 –</a:t>
            </a:r>
            <a:br>
              <a:rPr lang="en-US" sz="1000" dirty="0"/>
            </a:br>
            <a:r>
              <a:rPr lang="en-US" sz="1000" dirty="0"/>
              <a:t>Federation Servers</a:t>
            </a:r>
            <a:br>
              <a:rPr lang="en-US" sz="1000" dirty="0"/>
            </a:br>
            <a:r>
              <a:rPr lang="en-US" sz="1000" dirty="0"/>
              <a:t>and WAP Serv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A47F9A-8FAC-0E09-6644-4B8C82E3C203}"/>
              </a:ext>
            </a:extLst>
          </p:cNvPr>
          <p:cNvSpPr txBox="1"/>
          <p:nvPr/>
        </p:nvSpPr>
        <p:spPr>
          <a:xfrm>
            <a:off x="6499340" y="5521396"/>
            <a:ext cx="1205119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Web Application</a:t>
            </a:r>
            <a:br>
              <a:rPr lang="en-US" sz="1000" dirty="0"/>
            </a:br>
            <a:r>
              <a:rPr lang="en-US" sz="1000" dirty="0"/>
              <a:t>Prox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50A42DE-935C-954E-9D6E-9996DCB23C80}"/>
              </a:ext>
            </a:extLst>
          </p:cNvPr>
          <p:cNvSpPr txBox="1"/>
          <p:nvPr/>
        </p:nvSpPr>
        <p:spPr>
          <a:xfrm>
            <a:off x="6499340" y="4063582"/>
            <a:ext cx="120511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3 – Azure AD Connect and</a:t>
            </a:r>
            <a:br>
              <a:rPr lang="en-US" sz="1000" dirty="0"/>
            </a:br>
            <a:r>
              <a:rPr lang="en-US" sz="1000" dirty="0"/>
              <a:t>Federation Servers/WA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64A68A-9340-A5F7-B866-9BD97B6B2BC2}"/>
              </a:ext>
            </a:extLst>
          </p:cNvPr>
          <p:cNvSpPr txBox="1"/>
          <p:nvPr/>
        </p:nvSpPr>
        <p:spPr>
          <a:xfrm>
            <a:off x="8077138" y="4968163"/>
            <a:ext cx="46462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Sign-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D12A0E5-5054-C1CC-858A-897146734AF1}"/>
              </a:ext>
            </a:extLst>
          </p:cNvPr>
          <p:cNvSpPr txBox="1"/>
          <p:nvPr/>
        </p:nvSpPr>
        <p:spPr>
          <a:xfrm>
            <a:off x="7774889" y="5273117"/>
            <a:ext cx="106255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Table – 5 Users and WAP Serv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648701-3692-C67C-18F7-611F53ECE091}"/>
              </a:ext>
            </a:extLst>
          </p:cNvPr>
          <p:cNvSpPr txBox="1"/>
          <p:nvPr/>
        </p:nvSpPr>
        <p:spPr>
          <a:xfrm>
            <a:off x="9062993" y="5547540"/>
            <a:ext cx="372419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Us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E61DD0-37CB-BFEB-0DF9-56385FCD3267}"/>
              </a:ext>
            </a:extLst>
          </p:cNvPr>
          <p:cNvSpPr txBox="1"/>
          <p:nvPr/>
        </p:nvSpPr>
        <p:spPr>
          <a:xfrm>
            <a:off x="9737015" y="5751543"/>
            <a:ext cx="545259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Devic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B2C3EC-D373-F73B-BCAD-708BD2FC2575}"/>
              </a:ext>
            </a:extLst>
          </p:cNvPr>
          <p:cNvSpPr txBox="1"/>
          <p:nvPr/>
        </p:nvSpPr>
        <p:spPr>
          <a:xfrm>
            <a:off x="7148894" y="3522363"/>
            <a:ext cx="80325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Azure Active Director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7066536-A588-6A3F-C58E-9DF2259A3A95}"/>
              </a:ext>
            </a:extLst>
          </p:cNvPr>
          <p:cNvSpPr txBox="1"/>
          <p:nvPr/>
        </p:nvSpPr>
        <p:spPr>
          <a:xfrm>
            <a:off x="8110515" y="3522363"/>
            <a:ext cx="66385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Your App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078F88-82F9-AEBA-93D0-0D974E141448}"/>
              </a:ext>
            </a:extLst>
          </p:cNvPr>
          <p:cNvSpPr txBox="1"/>
          <p:nvPr/>
        </p:nvSpPr>
        <p:spPr>
          <a:xfrm>
            <a:off x="8896934" y="3522363"/>
            <a:ext cx="1078391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Saas Applic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B422E2F-3AD6-0FF8-5FD0-081FBAD4FE04}"/>
              </a:ext>
            </a:extLst>
          </p:cNvPr>
          <p:cNvSpPr txBox="1"/>
          <p:nvPr/>
        </p:nvSpPr>
        <p:spPr>
          <a:xfrm>
            <a:off x="8165642" y="2771862"/>
            <a:ext cx="608723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/>
              <a:t>Office 365</a:t>
            </a:r>
            <a:endParaRPr lang="en-US" sz="1000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36738DC-D766-6B5C-3653-2FD94C8BAD31}"/>
              </a:ext>
            </a:extLst>
          </p:cNvPr>
          <p:cNvGrpSpPr>
            <a:grpSpLocks noChangeAspect="1"/>
          </p:cNvGrpSpPr>
          <p:nvPr/>
        </p:nvGrpSpPr>
        <p:grpSpPr>
          <a:xfrm>
            <a:off x="9999338" y="4853130"/>
            <a:ext cx="335915" cy="339021"/>
            <a:chOff x="3823824" y="1338292"/>
            <a:chExt cx="577595" cy="582930"/>
          </a:xfrm>
          <a:noFill/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B71AAF4-1988-601B-0BA6-1327DFABC010}"/>
                </a:ext>
              </a:extLst>
            </p:cNvPr>
            <p:cNvSpPr/>
            <p:nvPr/>
          </p:nvSpPr>
          <p:spPr>
            <a:xfrm>
              <a:off x="3823824" y="1407920"/>
              <a:ext cx="551307" cy="375856"/>
            </a:xfrm>
            <a:custGeom>
              <a:avLst/>
              <a:gdLst>
                <a:gd name="connsiteX0" fmla="*/ 551307 w 551307"/>
                <a:gd name="connsiteY0" fmla="*/ 252984 h 375856"/>
                <a:gd name="connsiteX1" fmla="*/ 551307 w 551307"/>
                <a:gd name="connsiteY1" fmla="*/ 351568 h 375856"/>
                <a:gd name="connsiteX2" fmla="*/ 527018 w 551307"/>
                <a:gd name="connsiteY2" fmla="*/ 375856 h 375856"/>
                <a:gd name="connsiteX3" fmla="*/ 24289 w 551307"/>
                <a:gd name="connsiteY3" fmla="*/ 375856 h 375856"/>
                <a:gd name="connsiteX4" fmla="*/ 0 w 551307"/>
                <a:gd name="connsiteY4" fmla="*/ 351568 h 375856"/>
                <a:gd name="connsiteX5" fmla="*/ 0 w 551307"/>
                <a:gd name="connsiteY5" fmla="*/ 24289 h 375856"/>
                <a:gd name="connsiteX6" fmla="*/ 24289 w 551307"/>
                <a:gd name="connsiteY6" fmla="*/ 0 h 375856"/>
                <a:gd name="connsiteX7" fmla="*/ 232696 w 551307"/>
                <a:gd name="connsiteY7" fmla="*/ 0 h 37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1307" h="375856">
                  <a:moveTo>
                    <a:pt x="551307" y="252984"/>
                  </a:moveTo>
                  <a:lnTo>
                    <a:pt x="551307" y="351568"/>
                  </a:lnTo>
                  <a:cubicBezTo>
                    <a:pt x="551307" y="364998"/>
                    <a:pt x="540449" y="375856"/>
                    <a:pt x="527018" y="375856"/>
                  </a:cubicBezTo>
                  <a:lnTo>
                    <a:pt x="24289" y="375856"/>
                  </a:lnTo>
                  <a:cubicBezTo>
                    <a:pt x="10858" y="375856"/>
                    <a:pt x="0" y="364998"/>
                    <a:pt x="0" y="351568"/>
                  </a:cubicBezTo>
                  <a:lnTo>
                    <a:pt x="0" y="24289"/>
                  </a:lnTo>
                  <a:cubicBezTo>
                    <a:pt x="0" y="10858"/>
                    <a:pt x="10858" y="0"/>
                    <a:pt x="24289" y="0"/>
                  </a:cubicBezTo>
                  <a:lnTo>
                    <a:pt x="232696" y="0"/>
                  </a:lnTo>
                </a:path>
              </a:pathLst>
            </a:custGeom>
            <a:grp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16A8A22-B13D-D499-4075-87A7B00B7E90}"/>
                </a:ext>
              </a:extLst>
            </p:cNvPr>
            <p:cNvSpPr/>
            <p:nvPr/>
          </p:nvSpPr>
          <p:spPr>
            <a:xfrm>
              <a:off x="4034612" y="1787777"/>
              <a:ext cx="9525" cy="115919"/>
            </a:xfrm>
            <a:custGeom>
              <a:avLst/>
              <a:gdLst>
                <a:gd name="connsiteX0" fmla="*/ 0 w 9525"/>
                <a:gd name="connsiteY0" fmla="*/ 0 h 115919"/>
                <a:gd name="connsiteX1" fmla="*/ 0 w 9525"/>
                <a:gd name="connsiteY1" fmla="*/ 115919 h 115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5919">
                  <a:moveTo>
                    <a:pt x="0" y="0"/>
                  </a:moveTo>
                  <a:lnTo>
                    <a:pt x="0" y="115919"/>
                  </a:lnTo>
                </a:path>
              </a:pathLst>
            </a:custGeom>
            <a:grp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6D01D8F-1EB6-26BB-A405-39F5D60881FA}"/>
                </a:ext>
              </a:extLst>
            </p:cNvPr>
            <p:cNvSpPr/>
            <p:nvPr/>
          </p:nvSpPr>
          <p:spPr>
            <a:xfrm>
              <a:off x="4161866" y="1787777"/>
              <a:ext cx="9525" cy="115919"/>
            </a:xfrm>
            <a:custGeom>
              <a:avLst/>
              <a:gdLst>
                <a:gd name="connsiteX0" fmla="*/ 0 w 9525"/>
                <a:gd name="connsiteY0" fmla="*/ 0 h 115919"/>
                <a:gd name="connsiteX1" fmla="*/ 0 w 9525"/>
                <a:gd name="connsiteY1" fmla="*/ 115919 h 115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5919">
                  <a:moveTo>
                    <a:pt x="0" y="0"/>
                  </a:moveTo>
                  <a:lnTo>
                    <a:pt x="0" y="115919"/>
                  </a:lnTo>
                </a:path>
              </a:pathLst>
            </a:custGeom>
            <a:grp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E6045ED-BE0A-8D4A-FBB8-656CCD93137C}"/>
                </a:ext>
              </a:extLst>
            </p:cNvPr>
            <p:cNvSpPr/>
            <p:nvPr/>
          </p:nvSpPr>
          <p:spPr>
            <a:xfrm>
              <a:off x="3929837" y="1911697"/>
              <a:ext cx="337661" cy="9525"/>
            </a:xfrm>
            <a:custGeom>
              <a:avLst/>
              <a:gdLst>
                <a:gd name="connsiteX0" fmla="*/ 0 w 337661"/>
                <a:gd name="connsiteY0" fmla="*/ 0 h 9525"/>
                <a:gd name="connsiteX1" fmla="*/ 337661 w 33766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7661" h="9525">
                  <a:moveTo>
                    <a:pt x="0" y="0"/>
                  </a:moveTo>
                  <a:lnTo>
                    <a:pt x="337661" y="0"/>
                  </a:lnTo>
                </a:path>
              </a:pathLst>
            </a:custGeom>
            <a:grp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20D152C-1B0A-D9B7-92A2-04D16AD454EB}"/>
                </a:ext>
              </a:extLst>
            </p:cNvPr>
            <p:cNvSpPr/>
            <p:nvPr/>
          </p:nvSpPr>
          <p:spPr>
            <a:xfrm>
              <a:off x="4099382" y="1338292"/>
              <a:ext cx="302037" cy="301942"/>
            </a:xfrm>
            <a:custGeom>
              <a:avLst/>
              <a:gdLst>
                <a:gd name="connsiteX0" fmla="*/ 256699 w 302037"/>
                <a:gd name="connsiteY0" fmla="*/ 129350 h 301942"/>
                <a:gd name="connsiteX1" fmla="*/ 302038 w 302037"/>
                <a:gd name="connsiteY1" fmla="*/ 129350 h 301942"/>
                <a:gd name="connsiteX2" fmla="*/ 302038 w 302037"/>
                <a:gd name="connsiteY2" fmla="*/ 172498 h 301942"/>
                <a:gd name="connsiteX3" fmla="*/ 256699 w 302037"/>
                <a:gd name="connsiteY3" fmla="*/ 172498 h 301942"/>
                <a:gd name="connsiteX4" fmla="*/ 240887 w 302037"/>
                <a:gd name="connsiteY4" fmla="*/ 210312 h 301942"/>
                <a:gd name="connsiteX5" fmla="*/ 272987 w 302037"/>
                <a:gd name="connsiteY5" fmla="*/ 242411 h 301942"/>
                <a:gd name="connsiteX6" fmla="*/ 242506 w 302037"/>
                <a:gd name="connsiteY6" fmla="*/ 272891 h 301942"/>
                <a:gd name="connsiteX7" fmla="*/ 210407 w 302037"/>
                <a:gd name="connsiteY7" fmla="*/ 240792 h 301942"/>
                <a:gd name="connsiteX8" fmla="*/ 172593 w 302037"/>
                <a:gd name="connsiteY8" fmla="*/ 256604 h 301942"/>
                <a:gd name="connsiteX9" fmla="*/ 172593 w 302037"/>
                <a:gd name="connsiteY9" fmla="*/ 301943 h 301942"/>
                <a:gd name="connsiteX10" fmla="*/ 129445 w 302037"/>
                <a:gd name="connsiteY10" fmla="*/ 301943 h 301942"/>
                <a:gd name="connsiteX11" fmla="*/ 129445 w 302037"/>
                <a:gd name="connsiteY11" fmla="*/ 256604 h 301942"/>
                <a:gd name="connsiteX12" fmla="*/ 91630 w 302037"/>
                <a:gd name="connsiteY12" fmla="*/ 240792 h 301942"/>
                <a:gd name="connsiteX13" fmla="*/ 59531 w 302037"/>
                <a:gd name="connsiteY13" fmla="*/ 272891 h 301942"/>
                <a:gd name="connsiteX14" fmla="*/ 29051 w 302037"/>
                <a:gd name="connsiteY14" fmla="*/ 242411 h 301942"/>
                <a:gd name="connsiteX15" fmla="*/ 61150 w 302037"/>
                <a:gd name="connsiteY15" fmla="*/ 210312 h 301942"/>
                <a:gd name="connsiteX16" fmla="*/ 45339 w 302037"/>
                <a:gd name="connsiteY16" fmla="*/ 172498 h 301942"/>
                <a:gd name="connsiteX17" fmla="*/ 0 w 302037"/>
                <a:gd name="connsiteY17" fmla="*/ 172498 h 301942"/>
                <a:gd name="connsiteX18" fmla="*/ 0 w 302037"/>
                <a:gd name="connsiteY18" fmla="*/ 129350 h 301942"/>
                <a:gd name="connsiteX19" fmla="*/ 45339 w 302037"/>
                <a:gd name="connsiteY19" fmla="*/ 129350 h 301942"/>
                <a:gd name="connsiteX20" fmla="*/ 61150 w 302037"/>
                <a:gd name="connsiteY20" fmla="*/ 91535 h 301942"/>
                <a:gd name="connsiteX21" fmla="*/ 29051 w 302037"/>
                <a:gd name="connsiteY21" fmla="*/ 59436 h 301942"/>
                <a:gd name="connsiteX22" fmla="*/ 59531 w 302037"/>
                <a:gd name="connsiteY22" fmla="*/ 28956 h 301942"/>
                <a:gd name="connsiteX23" fmla="*/ 91630 w 302037"/>
                <a:gd name="connsiteY23" fmla="*/ 61055 h 301942"/>
                <a:gd name="connsiteX24" fmla="*/ 129445 w 302037"/>
                <a:gd name="connsiteY24" fmla="*/ 45244 h 301942"/>
                <a:gd name="connsiteX25" fmla="*/ 129445 w 302037"/>
                <a:gd name="connsiteY25" fmla="*/ 0 h 301942"/>
                <a:gd name="connsiteX26" fmla="*/ 172593 w 302037"/>
                <a:gd name="connsiteY26" fmla="*/ 0 h 301942"/>
                <a:gd name="connsiteX27" fmla="*/ 172593 w 302037"/>
                <a:gd name="connsiteY27" fmla="*/ 45339 h 301942"/>
                <a:gd name="connsiteX28" fmla="*/ 210407 w 302037"/>
                <a:gd name="connsiteY28" fmla="*/ 61151 h 301942"/>
                <a:gd name="connsiteX29" fmla="*/ 242506 w 302037"/>
                <a:gd name="connsiteY29" fmla="*/ 29051 h 301942"/>
                <a:gd name="connsiteX30" fmla="*/ 272987 w 302037"/>
                <a:gd name="connsiteY30" fmla="*/ 59531 h 301942"/>
                <a:gd name="connsiteX31" fmla="*/ 240887 w 302037"/>
                <a:gd name="connsiteY31" fmla="*/ 91631 h 301942"/>
                <a:gd name="connsiteX32" fmla="*/ 256699 w 302037"/>
                <a:gd name="connsiteY32" fmla="*/ 129445 h 301942"/>
                <a:gd name="connsiteX33" fmla="*/ 115062 w 302037"/>
                <a:gd name="connsiteY33" fmla="*/ 204692 h 301942"/>
                <a:gd name="connsiteX34" fmla="*/ 150971 w 302037"/>
                <a:gd name="connsiteY34" fmla="*/ 215551 h 301942"/>
                <a:gd name="connsiteX35" fmla="*/ 196691 w 302037"/>
                <a:gd name="connsiteY35" fmla="*/ 196596 h 301942"/>
                <a:gd name="connsiteX36" fmla="*/ 215646 w 302037"/>
                <a:gd name="connsiteY36" fmla="*/ 150876 h 301942"/>
                <a:gd name="connsiteX37" fmla="*/ 204788 w 302037"/>
                <a:gd name="connsiteY37" fmla="*/ 114967 h 301942"/>
                <a:gd name="connsiteX38" fmla="*/ 175736 w 302037"/>
                <a:gd name="connsiteY38" fmla="*/ 91154 h 301942"/>
                <a:gd name="connsiteX39" fmla="*/ 138303 w 302037"/>
                <a:gd name="connsiteY39" fmla="*/ 87440 h 301942"/>
                <a:gd name="connsiteX40" fmla="*/ 105156 w 302037"/>
                <a:gd name="connsiteY40" fmla="*/ 105156 h 301942"/>
                <a:gd name="connsiteX41" fmla="*/ 87440 w 302037"/>
                <a:gd name="connsiteY41" fmla="*/ 138303 h 301942"/>
                <a:gd name="connsiteX42" fmla="*/ 91154 w 302037"/>
                <a:gd name="connsiteY42" fmla="*/ 175736 h 301942"/>
                <a:gd name="connsiteX43" fmla="*/ 114967 w 302037"/>
                <a:gd name="connsiteY43" fmla="*/ 204788 h 30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02037" h="301942">
                  <a:moveTo>
                    <a:pt x="256699" y="129350"/>
                  </a:moveTo>
                  <a:lnTo>
                    <a:pt x="302038" y="129350"/>
                  </a:lnTo>
                  <a:lnTo>
                    <a:pt x="302038" y="172498"/>
                  </a:lnTo>
                  <a:lnTo>
                    <a:pt x="256699" y="172498"/>
                  </a:lnTo>
                  <a:cubicBezTo>
                    <a:pt x="253937" y="186023"/>
                    <a:pt x="248602" y="198882"/>
                    <a:pt x="240887" y="210312"/>
                  </a:cubicBezTo>
                  <a:lnTo>
                    <a:pt x="272987" y="242411"/>
                  </a:lnTo>
                  <a:lnTo>
                    <a:pt x="242506" y="272891"/>
                  </a:lnTo>
                  <a:lnTo>
                    <a:pt x="210407" y="240792"/>
                  </a:lnTo>
                  <a:cubicBezTo>
                    <a:pt x="198977" y="248412"/>
                    <a:pt x="186118" y="253841"/>
                    <a:pt x="172593" y="256604"/>
                  </a:cubicBezTo>
                  <a:lnTo>
                    <a:pt x="172593" y="301943"/>
                  </a:lnTo>
                  <a:lnTo>
                    <a:pt x="129445" y="301943"/>
                  </a:lnTo>
                  <a:lnTo>
                    <a:pt x="129445" y="256604"/>
                  </a:lnTo>
                  <a:cubicBezTo>
                    <a:pt x="115919" y="253841"/>
                    <a:pt x="103061" y="248507"/>
                    <a:pt x="91630" y="240792"/>
                  </a:cubicBezTo>
                  <a:lnTo>
                    <a:pt x="59531" y="272891"/>
                  </a:lnTo>
                  <a:lnTo>
                    <a:pt x="29051" y="242411"/>
                  </a:lnTo>
                  <a:lnTo>
                    <a:pt x="61150" y="210312"/>
                  </a:lnTo>
                  <a:cubicBezTo>
                    <a:pt x="53530" y="198882"/>
                    <a:pt x="48101" y="186023"/>
                    <a:pt x="45339" y="172498"/>
                  </a:cubicBezTo>
                  <a:lnTo>
                    <a:pt x="0" y="172498"/>
                  </a:lnTo>
                  <a:lnTo>
                    <a:pt x="0" y="129350"/>
                  </a:lnTo>
                  <a:lnTo>
                    <a:pt x="45339" y="129350"/>
                  </a:lnTo>
                  <a:cubicBezTo>
                    <a:pt x="48101" y="115824"/>
                    <a:pt x="53435" y="102965"/>
                    <a:pt x="61150" y="91535"/>
                  </a:cubicBezTo>
                  <a:lnTo>
                    <a:pt x="29051" y="59436"/>
                  </a:lnTo>
                  <a:lnTo>
                    <a:pt x="59531" y="28956"/>
                  </a:lnTo>
                  <a:lnTo>
                    <a:pt x="91630" y="61055"/>
                  </a:lnTo>
                  <a:cubicBezTo>
                    <a:pt x="103061" y="53435"/>
                    <a:pt x="115919" y="48006"/>
                    <a:pt x="129445" y="45244"/>
                  </a:cubicBezTo>
                  <a:lnTo>
                    <a:pt x="129445" y="0"/>
                  </a:lnTo>
                  <a:lnTo>
                    <a:pt x="172593" y="0"/>
                  </a:lnTo>
                  <a:lnTo>
                    <a:pt x="172593" y="45339"/>
                  </a:lnTo>
                  <a:cubicBezTo>
                    <a:pt x="186118" y="48101"/>
                    <a:pt x="198977" y="53435"/>
                    <a:pt x="210407" y="61151"/>
                  </a:cubicBezTo>
                  <a:lnTo>
                    <a:pt x="242506" y="29051"/>
                  </a:lnTo>
                  <a:lnTo>
                    <a:pt x="272987" y="59531"/>
                  </a:lnTo>
                  <a:lnTo>
                    <a:pt x="240887" y="91631"/>
                  </a:lnTo>
                  <a:cubicBezTo>
                    <a:pt x="248507" y="103061"/>
                    <a:pt x="253937" y="115919"/>
                    <a:pt x="256699" y="129445"/>
                  </a:cubicBezTo>
                  <a:close/>
                  <a:moveTo>
                    <a:pt x="115062" y="204692"/>
                  </a:moveTo>
                  <a:cubicBezTo>
                    <a:pt x="125730" y="211836"/>
                    <a:pt x="138208" y="215551"/>
                    <a:pt x="150971" y="215551"/>
                  </a:cubicBezTo>
                  <a:cubicBezTo>
                    <a:pt x="168116" y="215551"/>
                    <a:pt x="184594" y="208693"/>
                    <a:pt x="196691" y="196596"/>
                  </a:cubicBezTo>
                  <a:cubicBezTo>
                    <a:pt x="208788" y="184499"/>
                    <a:pt x="215646" y="168021"/>
                    <a:pt x="215646" y="150876"/>
                  </a:cubicBezTo>
                  <a:cubicBezTo>
                    <a:pt x="215646" y="138113"/>
                    <a:pt x="211836" y="125540"/>
                    <a:pt x="204788" y="114967"/>
                  </a:cubicBezTo>
                  <a:cubicBezTo>
                    <a:pt x="197644" y="104299"/>
                    <a:pt x="187547" y="96012"/>
                    <a:pt x="175736" y="91154"/>
                  </a:cubicBezTo>
                  <a:cubicBezTo>
                    <a:pt x="163925" y="86297"/>
                    <a:pt x="150876" y="84963"/>
                    <a:pt x="138303" y="87440"/>
                  </a:cubicBezTo>
                  <a:cubicBezTo>
                    <a:pt x="125730" y="89916"/>
                    <a:pt x="114205" y="96107"/>
                    <a:pt x="105156" y="105156"/>
                  </a:cubicBezTo>
                  <a:cubicBezTo>
                    <a:pt x="96107" y="114205"/>
                    <a:pt x="89916" y="125730"/>
                    <a:pt x="87440" y="138303"/>
                  </a:cubicBezTo>
                  <a:cubicBezTo>
                    <a:pt x="84963" y="150876"/>
                    <a:pt x="86201" y="163830"/>
                    <a:pt x="91154" y="175736"/>
                  </a:cubicBezTo>
                  <a:cubicBezTo>
                    <a:pt x="96012" y="187547"/>
                    <a:pt x="104299" y="197644"/>
                    <a:pt x="114967" y="204788"/>
                  </a:cubicBezTo>
                  <a:close/>
                </a:path>
              </a:pathLst>
            </a:custGeom>
            <a:grp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DFC8625-9367-7095-1063-8F53381BC275}"/>
              </a:ext>
            </a:extLst>
          </p:cNvPr>
          <p:cNvGrpSpPr>
            <a:grpSpLocks noChangeAspect="1"/>
          </p:cNvGrpSpPr>
          <p:nvPr/>
        </p:nvGrpSpPr>
        <p:grpSpPr>
          <a:xfrm>
            <a:off x="9804921" y="5340705"/>
            <a:ext cx="376029" cy="314757"/>
            <a:chOff x="7853205" y="1410284"/>
            <a:chExt cx="605599" cy="50692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FCCAAA8-3919-FEA2-0A29-EB2B80C7A3FE}"/>
                </a:ext>
              </a:extLst>
            </p:cNvPr>
            <p:cNvSpPr/>
            <p:nvPr/>
          </p:nvSpPr>
          <p:spPr>
            <a:xfrm>
              <a:off x="7907307" y="1410284"/>
              <a:ext cx="501586" cy="324992"/>
            </a:xfrm>
            <a:custGeom>
              <a:avLst/>
              <a:gdLst>
                <a:gd name="connsiteX0" fmla="*/ 501587 w 501586"/>
                <a:gd name="connsiteY0" fmla="*/ 324993 h 324992"/>
                <a:gd name="connsiteX1" fmla="*/ 233553 w 501586"/>
                <a:gd name="connsiteY1" fmla="*/ 324993 h 324992"/>
                <a:gd name="connsiteX2" fmla="*/ 0 w 501586"/>
                <a:gd name="connsiteY2" fmla="*/ 324993 h 324992"/>
                <a:gd name="connsiteX3" fmla="*/ 0 w 501586"/>
                <a:gd name="connsiteY3" fmla="*/ 0 h 324992"/>
                <a:gd name="connsiteX4" fmla="*/ 501587 w 501586"/>
                <a:gd name="connsiteY4" fmla="*/ 0 h 324992"/>
                <a:gd name="connsiteX5" fmla="*/ 501587 w 501586"/>
                <a:gd name="connsiteY5" fmla="*/ 324993 h 324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586" h="324992">
                  <a:moveTo>
                    <a:pt x="501587" y="324993"/>
                  </a:moveTo>
                  <a:lnTo>
                    <a:pt x="233553" y="324993"/>
                  </a:lnTo>
                  <a:lnTo>
                    <a:pt x="0" y="324993"/>
                  </a:lnTo>
                  <a:lnTo>
                    <a:pt x="0" y="0"/>
                  </a:lnTo>
                  <a:lnTo>
                    <a:pt x="501587" y="0"/>
                  </a:lnTo>
                  <a:lnTo>
                    <a:pt x="501587" y="324993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023152F-AB6E-DF50-4C10-32291A630981}"/>
                </a:ext>
              </a:extLst>
            </p:cNvPr>
            <p:cNvSpPr/>
            <p:nvPr/>
          </p:nvSpPr>
          <p:spPr>
            <a:xfrm>
              <a:off x="7853205" y="1735277"/>
              <a:ext cx="605599" cy="123729"/>
            </a:xfrm>
            <a:custGeom>
              <a:avLst/>
              <a:gdLst>
                <a:gd name="connsiteX0" fmla="*/ 54102 w 605599"/>
                <a:gd name="connsiteY0" fmla="*/ 0 h 123729"/>
                <a:gd name="connsiteX1" fmla="*/ 0 w 605599"/>
                <a:gd name="connsiteY1" fmla="*/ 123730 h 123729"/>
                <a:gd name="connsiteX2" fmla="*/ 605600 w 605599"/>
                <a:gd name="connsiteY2" fmla="*/ 123730 h 123729"/>
                <a:gd name="connsiteX3" fmla="*/ 555689 w 605599"/>
                <a:gd name="connsiteY3" fmla="*/ 0 h 12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599" h="123729">
                  <a:moveTo>
                    <a:pt x="54102" y="0"/>
                  </a:moveTo>
                  <a:lnTo>
                    <a:pt x="0" y="123730"/>
                  </a:lnTo>
                  <a:lnTo>
                    <a:pt x="605600" y="123730"/>
                  </a:lnTo>
                  <a:lnTo>
                    <a:pt x="555689" y="0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20F9521-A42B-8001-319A-AF8884C7F23A}"/>
                </a:ext>
              </a:extLst>
            </p:cNvPr>
            <p:cNvSpPr/>
            <p:nvPr/>
          </p:nvSpPr>
          <p:spPr>
            <a:xfrm>
              <a:off x="8072851" y="1797095"/>
              <a:ext cx="168306" cy="57435"/>
            </a:xfrm>
            <a:custGeom>
              <a:avLst/>
              <a:gdLst>
                <a:gd name="connsiteX0" fmla="*/ 0 w 168306"/>
                <a:gd name="connsiteY0" fmla="*/ 57436 h 57435"/>
                <a:gd name="connsiteX1" fmla="*/ 23813 w 168306"/>
                <a:gd name="connsiteY1" fmla="*/ 0 h 57435"/>
                <a:gd name="connsiteX2" fmla="*/ 142780 w 168306"/>
                <a:gd name="connsiteY2" fmla="*/ 0 h 57435"/>
                <a:gd name="connsiteX3" fmla="*/ 168307 w 168306"/>
                <a:gd name="connsiteY3" fmla="*/ 57436 h 5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306" h="57435">
                  <a:moveTo>
                    <a:pt x="0" y="57436"/>
                  </a:moveTo>
                  <a:lnTo>
                    <a:pt x="23813" y="0"/>
                  </a:lnTo>
                  <a:lnTo>
                    <a:pt x="142780" y="0"/>
                  </a:lnTo>
                  <a:lnTo>
                    <a:pt x="168307" y="57436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9F0DBD2-F53B-A1DC-1E74-072F30197527}"/>
                </a:ext>
              </a:extLst>
            </p:cNvPr>
            <p:cNvSpPr/>
            <p:nvPr/>
          </p:nvSpPr>
          <p:spPr>
            <a:xfrm>
              <a:off x="7853205" y="1859007"/>
              <a:ext cx="605599" cy="58197"/>
            </a:xfrm>
            <a:custGeom>
              <a:avLst/>
              <a:gdLst>
                <a:gd name="connsiteX0" fmla="*/ 605600 w 605599"/>
                <a:gd name="connsiteY0" fmla="*/ 0 h 58197"/>
                <a:gd name="connsiteX1" fmla="*/ 605600 w 605599"/>
                <a:gd name="connsiteY1" fmla="*/ 58198 h 58197"/>
                <a:gd name="connsiteX2" fmla="*/ 0 w 605599"/>
                <a:gd name="connsiteY2" fmla="*/ 58198 h 58197"/>
                <a:gd name="connsiteX3" fmla="*/ 0 w 605599"/>
                <a:gd name="connsiteY3" fmla="*/ 0 h 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599" h="58197">
                  <a:moveTo>
                    <a:pt x="605600" y="0"/>
                  </a:moveTo>
                  <a:lnTo>
                    <a:pt x="605600" y="58198"/>
                  </a:lnTo>
                  <a:lnTo>
                    <a:pt x="0" y="58198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6707A41-E92D-6EE4-BE07-0FE8BE9012DD}"/>
              </a:ext>
            </a:extLst>
          </p:cNvPr>
          <p:cNvGrpSpPr>
            <a:grpSpLocks noChangeAspect="1"/>
          </p:cNvGrpSpPr>
          <p:nvPr/>
        </p:nvGrpSpPr>
        <p:grpSpPr>
          <a:xfrm>
            <a:off x="9683877" y="4865259"/>
            <a:ext cx="185224" cy="340770"/>
            <a:chOff x="1604766" y="3134137"/>
            <a:chExt cx="328136" cy="603694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5D89F64-9B78-561C-F68C-A6D6637024DC}"/>
                </a:ext>
              </a:extLst>
            </p:cNvPr>
            <p:cNvSpPr/>
            <p:nvPr/>
          </p:nvSpPr>
          <p:spPr>
            <a:xfrm>
              <a:off x="1604766" y="3134137"/>
              <a:ext cx="328041" cy="603694"/>
            </a:xfrm>
            <a:custGeom>
              <a:avLst/>
              <a:gdLst>
                <a:gd name="connsiteX0" fmla="*/ 302705 w 328041"/>
                <a:gd name="connsiteY0" fmla="*/ 0 h 603694"/>
                <a:gd name="connsiteX1" fmla="*/ 328041 w 328041"/>
                <a:gd name="connsiteY1" fmla="*/ 25336 h 603694"/>
                <a:gd name="connsiteX2" fmla="*/ 328041 w 328041"/>
                <a:gd name="connsiteY2" fmla="*/ 578358 h 603694"/>
                <a:gd name="connsiteX3" fmla="*/ 302705 w 328041"/>
                <a:gd name="connsiteY3" fmla="*/ 603695 h 603694"/>
                <a:gd name="connsiteX4" fmla="*/ 25336 w 328041"/>
                <a:gd name="connsiteY4" fmla="*/ 603695 h 603694"/>
                <a:gd name="connsiteX5" fmla="*/ 0 w 328041"/>
                <a:gd name="connsiteY5" fmla="*/ 578358 h 603694"/>
                <a:gd name="connsiteX6" fmla="*/ 0 w 328041"/>
                <a:gd name="connsiteY6" fmla="*/ 25336 h 603694"/>
                <a:gd name="connsiteX7" fmla="*/ 25336 w 328041"/>
                <a:gd name="connsiteY7" fmla="*/ 0 h 60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41" h="603694">
                  <a:moveTo>
                    <a:pt x="302705" y="0"/>
                  </a:moveTo>
                  <a:cubicBezTo>
                    <a:pt x="316697" y="0"/>
                    <a:pt x="328041" y="11344"/>
                    <a:pt x="328041" y="25336"/>
                  </a:cubicBezTo>
                  <a:lnTo>
                    <a:pt x="328041" y="578358"/>
                  </a:lnTo>
                  <a:cubicBezTo>
                    <a:pt x="328041" y="592351"/>
                    <a:pt x="316697" y="603695"/>
                    <a:pt x="302705" y="603695"/>
                  </a:cubicBezTo>
                  <a:lnTo>
                    <a:pt x="25336" y="603695"/>
                  </a:lnTo>
                  <a:cubicBezTo>
                    <a:pt x="11344" y="603695"/>
                    <a:pt x="0" y="592351"/>
                    <a:pt x="0" y="578358"/>
                  </a:cubicBezTo>
                  <a:lnTo>
                    <a:pt x="0" y="25336"/>
                  </a:lnTo>
                  <a:cubicBezTo>
                    <a:pt x="0" y="11344"/>
                    <a:pt x="11344" y="0"/>
                    <a:pt x="25336" y="0"/>
                  </a:cubicBez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6F4DA5A6-20CF-3A74-6F11-ECD37E3784DA}"/>
                </a:ext>
              </a:extLst>
            </p:cNvPr>
            <p:cNvSpPr/>
            <p:nvPr/>
          </p:nvSpPr>
          <p:spPr>
            <a:xfrm>
              <a:off x="1604766" y="3198907"/>
              <a:ext cx="328136" cy="9525"/>
            </a:xfrm>
            <a:custGeom>
              <a:avLst/>
              <a:gdLst>
                <a:gd name="connsiteX0" fmla="*/ 0 w 328136"/>
                <a:gd name="connsiteY0" fmla="*/ 0 h 9525"/>
                <a:gd name="connsiteX1" fmla="*/ 328136 w 32813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136" h="9525">
                  <a:moveTo>
                    <a:pt x="0" y="0"/>
                  </a:moveTo>
                  <a:lnTo>
                    <a:pt x="328136" y="0"/>
                  </a:lnTo>
                </a:path>
              </a:pathLst>
            </a:custGeom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DE04D78-D864-6B9C-298D-4DBB4CC87DB0}"/>
                </a:ext>
              </a:extLst>
            </p:cNvPr>
            <p:cNvSpPr/>
            <p:nvPr/>
          </p:nvSpPr>
          <p:spPr>
            <a:xfrm>
              <a:off x="1604766" y="3666871"/>
              <a:ext cx="328136" cy="9525"/>
            </a:xfrm>
            <a:custGeom>
              <a:avLst/>
              <a:gdLst>
                <a:gd name="connsiteX0" fmla="*/ 0 w 328136"/>
                <a:gd name="connsiteY0" fmla="*/ 0 h 9525"/>
                <a:gd name="connsiteX1" fmla="*/ 328136 w 32813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136" h="9525">
                  <a:moveTo>
                    <a:pt x="0" y="0"/>
                  </a:moveTo>
                  <a:lnTo>
                    <a:pt x="328136" y="0"/>
                  </a:lnTo>
                </a:path>
              </a:pathLst>
            </a:custGeom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899AF75-E387-7733-FC20-45B3FE289716}"/>
                </a:ext>
              </a:extLst>
            </p:cNvPr>
            <p:cNvSpPr/>
            <p:nvPr/>
          </p:nvSpPr>
          <p:spPr>
            <a:xfrm>
              <a:off x="1755927" y="3687921"/>
              <a:ext cx="25717" cy="25717"/>
            </a:xfrm>
            <a:custGeom>
              <a:avLst/>
              <a:gdLst>
                <a:gd name="connsiteX0" fmla="*/ 25717 w 25717"/>
                <a:gd name="connsiteY0" fmla="*/ 12859 h 25717"/>
                <a:gd name="connsiteX1" fmla="*/ 12859 w 25717"/>
                <a:gd name="connsiteY1" fmla="*/ 25718 h 25717"/>
                <a:gd name="connsiteX2" fmla="*/ 0 w 25717"/>
                <a:gd name="connsiteY2" fmla="*/ 12859 h 25717"/>
                <a:gd name="connsiteX3" fmla="*/ 12859 w 25717"/>
                <a:gd name="connsiteY3" fmla="*/ 0 h 25717"/>
                <a:gd name="connsiteX4" fmla="*/ 25717 w 25717"/>
                <a:gd name="connsiteY4" fmla="*/ 12859 h 2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17" h="25717">
                  <a:moveTo>
                    <a:pt x="25717" y="12859"/>
                  </a:moveTo>
                  <a:cubicBezTo>
                    <a:pt x="25717" y="19960"/>
                    <a:pt x="19960" y="25718"/>
                    <a:pt x="12859" y="25718"/>
                  </a:cubicBezTo>
                  <a:cubicBezTo>
                    <a:pt x="5757" y="25718"/>
                    <a:pt x="0" y="19960"/>
                    <a:pt x="0" y="12859"/>
                  </a:cubicBezTo>
                  <a:cubicBezTo>
                    <a:pt x="0" y="5757"/>
                    <a:pt x="5757" y="0"/>
                    <a:pt x="12859" y="0"/>
                  </a:cubicBezTo>
                  <a:cubicBezTo>
                    <a:pt x="19960" y="0"/>
                    <a:pt x="25717" y="5757"/>
                    <a:pt x="25717" y="12859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4913771-15A9-CF2F-6148-EE2B5C2D972F}"/>
              </a:ext>
            </a:extLst>
          </p:cNvPr>
          <p:cNvGrpSpPr>
            <a:grpSpLocks noChangeAspect="1"/>
          </p:cNvGrpSpPr>
          <p:nvPr/>
        </p:nvGrpSpPr>
        <p:grpSpPr>
          <a:xfrm>
            <a:off x="9056627" y="4938044"/>
            <a:ext cx="385151" cy="542740"/>
            <a:chOff x="6659334" y="5280740"/>
            <a:chExt cx="197643" cy="27851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E3A9BD7-DB6D-9CD7-2DF1-78CBECB0D530}"/>
                </a:ext>
              </a:extLst>
            </p:cNvPr>
            <p:cNvSpPr/>
            <p:nvPr/>
          </p:nvSpPr>
          <p:spPr>
            <a:xfrm>
              <a:off x="6690290" y="5280740"/>
              <a:ext cx="135731" cy="133350"/>
            </a:xfrm>
            <a:custGeom>
              <a:avLst/>
              <a:gdLst>
                <a:gd name="connsiteX0" fmla="*/ 135731 w 135731"/>
                <a:gd name="connsiteY0" fmla="*/ 66675 h 133350"/>
                <a:gd name="connsiteX1" fmla="*/ 66675 w 135731"/>
                <a:gd name="connsiteY1" fmla="*/ 133350 h 133350"/>
                <a:gd name="connsiteX2" fmla="*/ 0 w 135731"/>
                <a:gd name="connsiteY2" fmla="*/ 66675 h 133350"/>
                <a:gd name="connsiteX3" fmla="*/ 66675 w 135731"/>
                <a:gd name="connsiteY3" fmla="*/ 0 h 133350"/>
                <a:gd name="connsiteX4" fmla="*/ 135731 w 135731"/>
                <a:gd name="connsiteY4" fmla="*/ 66675 h 133350"/>
                <a:gd name="connsiteX5" fmla="*/ 135731 w 135731"/>
                <a:gd name="connsiteY5" fmla="*/ 666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731" h="133350">
                  <a:moveTo>
                    <a:pt x="135731" y="66675"/>
                  </a:moveTo>
                  <a:cubicBezTo>
                    <a:pt x="135731" y="104775"/>
                    <a:pt x="104775" y="133350"/>
                    <a:pt x="66675" y="133350"/>
                  </a:cubicBezTo>
                  <a:cubicBezTo>
                    <a:pt x="30956" y="133350"/>
                    <a:pt x="0" y="104775"/>
                    <a:pt x="0" y="66675"/>
                  </a:cubicBezTo>
                  <a:cubicBezTo>
                    <a:pt x="0" y="30956"/>
                    <a:pt x="30956" y="0"/>
                    <a:pt x="66675" y="0"/>
                  </a:cubicBezTo>
                  <a:cubicBezTo>
                    <a:pt x="104775" y="0"/>
                    <a:pt x="135731" y="30956"/>
                    <a:pt x="135731" y="66675"/>
                  </a:cubicBezTo>
                  <a:lnTo>
                    <a:pt x="135731" y="66675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90156BA-09E8-8831-2133-6A73A4CF5A2A}"/>
                </a:ext>
              </a:extLst>
            </p:cNvPr>
            <p:cNvSpPr/>
            <p:nvPr/>
          </p:nvSpPr>
          <p:spPr>
            <a:xfrm>
              <a:off x="6659334" y="5459239"/>
              <a:ext cx="197643" cy="100012"/>
            </a:xfrm>
            <a:custGeom>
              <a:avLst/>
              <a:gdLst>
                <a:gd name="connsiteX0" fmla="*/ 197644 w 197643"/>
                <a:gd name="connsiteY0" fmla="*/ 100013 h 100012"/>
                <a:gd name="connsiteX1" fmla="*/ 197644 w 197643"/>
                <a:gd name="connsiteY1" fmla="*/ 71438 h 100012"/>
                <a:gd name="connsiteX2" fmla="*/ 128588 w 197643"/>
                <a:gd name="connsiteY2" fmla="*/ 0 h 100012"/>
                <a:gd name="connsiteX3" fmla="*/ 71438 w 197643"/>
                <a:gd name="connsiteY3" fmla="*/ 0 h 100012"/>
                <a:gd name="connsiteX4" fmla="*/ 0 w 197643"/>
                <a:gd name="connsiteY4" fmla="*/ 71438 h 100012"/>
                <a:gd name="connsiteX5" fmla="*/ 0 w 197643"/>
                <a:gd name="connsiteY5" fmla="*/ 100013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643" h="100012">
                  <a:moveTo>
                    <a:pt x="197644" y="100013"/>
                  </a:moveTo>
                  <a:lnTo>
                    <a:pt x="197644" y="71438"/>
                  </a:lnTo>
                  <a:cubicBezTo>
                    <a:pt x="197644" y="33338"/>
                    <a:pt x="166688" y="0"/>
                    <a:pt x="128588" y="0"/>
                  </a:cubicBezTo>
                  <a:lnTo>
                    <a:pt x="71438" y="0"/>
                  </a:lnTo>
                  <a:cubicBezTo>
                    <a:pt x="30956" y="0"/>
                    <a:pt x="0" y="30956"/>
                    <a:pt x="0" y="71438"/>
                  </a:cubicBezTo>
                  <a:lnTo>
                    <a:pt x="0" y="100013"/>
                  </a:ln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8" name="Picture 2" descr="What is Microsoft Entra Connect">
            <a:extLst>
              <a:ext uri="{FF2B5EF4-FFF2-40B4-BE49-F238E27FC236}">
                <a16:creationId xmlns:a16="http://schemas.microsoft.com/office/drawing/2014/main" id="{A2BD2619-5A00-5906-6950-4305249122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071" t="31160" r="10393" b="46881"/>
          <a:stretch/>
        </p:blipFill>
        <p:spPr bwMode="auto">
          <a:xfrm>
            <a:off x="9017029" y="2280514"/>
            <a:ext cx="838200" cy="1200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DCFAC5EC-017D-088A-5785-C0AD89B949D5}"/>
              </a:ext>
            </a:extLst>
          </p:cNvPr>
          <p:cNvSpPr/>
          <p:nvPr/>
        </p:nvSpPr>
        <p:spPr>
          <a:xfrm>
            <a:off x="6702661" y="1414336"/>
            <a:ext cx="4103118" cy="2464241"/>
          </a:xfrm>
          <a:custGeom>
            <a:avLst/>
            <a:gdLst>
              <a:gd name="connsiteX0" fmla="*/ 0 w 3215640"/>
              <a:gd name="connsiteY0" fmla="*/ 1988820 h 1996440"/>
              <a:gd name="connsiteX1" fmla="*/ 137160 w 3215640"/>
              <a:gd name="connsiteY1" fmla="*/ 617220 h 1996440"/>
              <a:gd name="connsiteX2" fmla="*/ 792480 w 3215640"/>
              <a:gd name="connsiteY2" fmla="*/ 342900 h 1996440"/>
              <a:gd name="connsiteX3" fmla="*/ 2171700 w 3215640"/>
              <a:gd name="connsiteY3" fmla="*/ 0 h 1996440"/>
              <a:gd name="connsiteX4" fmla="*/ 3215640 w 3215640"/>
              <a:gd name="connsiteY4" fmla="*/ 784860 h 1996440"/>
              <a:gd name="connsiteX5" fmla="*/ 3078480 w 3215640"/>
              <a:gd name="connsiteY5" fmla="*/ 1996440 h 1996440"/>
              <a:gd name="connsiteX6" fmla="*/ 0 w 3215640"/>
              <a:gd name="connsiteY6" fmla="*/ 1988820 h 1996440"/>
              <a:gd name="connsiteX0" fmla="*/ 285825 w 3501465"/>
              <a:gd name="connsiteY0" fmla="*/ 1988820 h 1996440"/>
              <a:gd name="connsiteX1" fmla="*/ 422985 w 3501465"/>
              <a:gd name="connsiteY1" fmla="*/ 617220 h 1996440"/>
              <a:gd name="connsiteX2" fmla="*/ 1078305 w 3501465"/>
              <a:gd name="connsiteY2" fmla="*/ 342900 h 1996440"/>
              <a:gd name="connsiteX3" fmla="*/ 2457525 w 3501465"/>
              <a:gd name="connsiteY3" fmla="*/ 0 h 1996440"/>
              <a:gd name="connsiteX4" fmla="*/ 3501465 w 3501465"/>
              <a:gd name="connsiteY4" fmla="*/ 784860 h 1996440"/>
              <a:gd name="connsiteX5" fmla="*/ 3364305 w 3501465"/>
              <a:gd name="connsiteY5" fmla="*/ 1996440 h 1996440"/>
              <a:gd name="connsiteX6" fmla="*/ 285825 w 3501465"/>
              <a:gd name="connsiteY6" fmla="*/ 1988820 h 1996440"/>
              <a:gd name="connsiteX0" fmla="*/ 536920 w 3752560"/>
              <a:gd name="connsiteY0" fmla="*/ 1988820 h 1996440"/>
              <a:gd name="connsiteX1" fmla="*/ 674080 w 3752560"/>
              <a:gd name="connsiteY1" fmla="*/ 617220 h 1996440"/>
              <a:gd name="connsiteX2" fmla="*/ 1329400 w 3752560"/>
              <a:gd name="connsiteY2" fmla="*/ 342900 h 1996440"/>
              <a:gd name="connsiteX3" fmla="*/ 2708620 w 3752560"/>
              <a:gd name="connsiteY3" fmla="*/ 0 h 1996440"/>
              <a:gd name="connsiteX4" fmla="*/ 3752560 w 3752560"/>
              <a:gd name="connsiteY4" fmla="*/ 784860 h 1996440"/>
              <a:gd name="connsiteX5" fmla="*/ 3615400 w 3752560"/>
              <a:gd name="connsiteY5" fmla="*/ 1996440 h 1996440"/>
              <a:gd name="connsiteX6" fmla="*/ 536920 w 3752560"/>
              <a:gd name="connsiteY6" fmla="*/ 1988820 h 1996440"/>
              <a:gd name="connsiteX0" fmla="*/ 523220 w 3738860"/>
              <a:gd name="connsiteY0" fmla="*/ 1988820 h 1996440"/>
              <a:gd name="connsiteX1" fmla="*/ 660380 w 3738860"/>
              <a:gd name="connsiteY1" fmla="*/ 617220 h 1996440"/>
              <a:gd name="connsiteX2" fmla="*/ 1315700 w 3738860"/>
              <a:gd name="connsiteY2" fmla="*/ 342900 h 1996440"/>
              <a:gd name="connsiteX3" fmla="*/ 2694920 w 3738860"/>
              <a:gd name="connsiteY3" fmla="*/ 0 h 1996440"/>
              <a:gd name="connsiteX4" fmla="*/ 3738860 w 3738860"/>
              <a:gd name="connsiteY4" fmla="*/ 784860 h 1996440"/>
              <a:gd name="connsiteX5" fmla="*/ 3601700 w 3738860"/>
              <a:gd name="connsiteY5" fmla="*/ 1996440 h 1996440"/>
              <a:gd name="connsiteX6" fmla="*/ 523220 w 3738860"/>
              <a:gd name="connsiteY6" fmla="*/ 1988820 h 1996440"/>
              <a:gd name="connsiteX0" fmla="*/ 555844 w 3771484"/>
              <a:gd name="connsiteY0" fmla="*/ 1988820 h 1996440"/>
              <a:gd name="connsiteX1" fmla="*/ 693004 w 3771484"/>
              <a:gd name="connsiteY1" fmla="*/ 617220 h 1996440"/>
              <a:gd name="connsiteX2" fmla="*/ 1348324 w 3771484"/>
              <a:gd name="connsiteY2" fmla="*/ 342900 h 1996440"/>
              <a:gd name="connsiteX3" fmla="*/ 2727544 w 3771484"/>
              <a:gd name="connsiteY3" fmla="*/ 0 h 1996440"/>
              <a:gd name="connsiteX4" fmla="*/ 3771484 w 3771484"/>
              <a:gd name="connsiteY4" fmla="*/ 784860 h 1996440"/>
              <a:gd name="connsiteX5" fmla="*/ 3634324 w 3771484"/>
              <a:gd name="connsiteY5" fmla="*/ 1996440 h 1996440"/>
              <a:gd name="connsiteX6" fmla="*/ 555844 w 3771484"/>
              <a:gd name="connsiteY6" fmla="*/ 1988820 h 1996440"/>
              <a:gd name="connsiteX0" fmla="*/ 555844 w 3964832"/>
              <a:gd name="connsiteY0" fmla="*/ 1988820 h 1996440"/>
              <a:gd name="connsiteX1" fmla="*/ 693004 w 3964832"/>
              <a:gd name="connsiteY1" fmla="*/ 617220 h 1996440"/>
              <a:gd name="connsiteX2" fmla="*/ 1348324 w 3964832"/>
              <a:gd name="connsiteY2" fmla="*/ 342900 h 1996440"/>
              <a:gd name="connsiteX3" fmla="*/ 2727544 w 3964832"/>
              <a:gd name="connsiteY3" fmla="*/ 0 h 1996440"/>
              <a:gd name="connsiteX4" fmla="*/ 3771484 w 3964832"/>
              <a:gd name="connsiteY4" fmla="*/ 784860 h 1996440"/>
              <a:gd name="connsiteX5" fmla="*/ 3634324 w 3964832"/>
              <a:gd name="connsiteY5" fmla="*/ 1996440 h 1996440"/>
              <a:gd name="connsiteX6" fmla="*/ 555844 w 3964832"/>
              <a:gd name="connsiteY6" fmla="*/ 1988820 h 1996440"/>
              <a:gd name="connsiteX0" fmla="*/ 555844 w 4114871"/>
              <a:gd name="connsiteY0" fmla="*/ 1988820 h 1996440"/>
              <a:gd name="connsiteX1" fmla="*/ 693004 w 4114871"/>
              <a:gd name="connsiteY1" fmla="*/ 617220 h 1996440"/>
              <a:gd name="connsiteX2" fmla="*/ 1348324 w 4114871"/>
              <a:gd name="connsiteY2" fmla="*/ 342900 h 1996440"/>
              <a:gd name="connsiteX3" fmla="*/ 2727544 w 4114871"/>
              <a:gd name="connsiteY3" fmla="*/ 0 h 1996440"/>
              <a:gd name="connsiteX4" fmla="*/ 3771484 w 4114871"/>
              <a:gd name="connsiteY4" fmla="*/ 784860 h 1996440"/>
              <a:gd name="connsiteX5" fmla="*/ 3634324 w 4114871"/>
              <a:gd name="connsiteY5" fmla="*/ 1996440 h 1996440"/>
              <a:gd name="connsiteX6" fmla="*/ 555844 w 4114871"/>
              <a:gd name="connsiteY6" fmla="*/ 1988820 h 1996440"/>
              <a:gd name="connsiteX0" fmla="*/ 555844 w 4084722"/>
              <a:gd name="connsiteY0" fmla="*/ 1988820 h 1996440"/>
              <a:gd name="connsiteX1" fmla="*/ 693004 w 4084722"/>
              <a:gd name="connsiteY1" fmla="*/ 617220 h 1996440"/>
              <a:gd name="connsiteX2" fmla="*/ 1348324 w 4084722"/>
              <a:gd name="connsiteY2" fmla="*/ 342900 h 1996440"/>
              <a:gd name="connsiteX3" fmla="*/ 2727544 w 4084722"/>
              <a:gd name="connsiteY3" fmla="*/ 0 h 1996440"/>
              <a:gd name="connsiteX4" fmla="*/ 3771484 w 4084722"/>
              <a:gd name="connsiteY4" fmla="*/ 784860 h 1996440"/>
              <a:gd name="connsiteX5" fmla="*/ 3634324 w 4084722"/>
              <a:gd name="connsiteY5" fmla="*/ 1996440 h 1996440"/>
              <a:gd name="connsiteX6" fmla="*/ 555844 w 4084722"/>
              <a:gd name="connsiteY6" fmla="*/ 1988820 h 1996440"/>
              <a:gd name="connsiteX0" fmla="*/ 555844 w 4103118"/>
              <a:gd name="connsiteY0" fmla="*/ 1988820 h 1996440"/>
              <a:gd name="connsiteX1" fmla="*/ 693004 w 4103118"/>
              <a:gd name="connsiteY1" fmla="*/ 617220 h 1996440"/>
              <a:gd name="connsiteX2" fmla="*/ 1348324 w 4103118"/>
              <a:gd name="connsiteY2" fmla="*/ 342900 h 1996440"/>
              <a:gd name="connsiteX3" fmla="*/ 2727544 w 4103118"/>
              <a:gd name="connsiteY3" fmla="*/ 0 h 1996440"/>
              <a:gd name="connsiteX4" fmla="*/ 3771484 w 4103118"/>
              <a:gd name="connsiteY4" fmla="*/ 784860 h 1996440"/>
              <a:gd name="connsiteX5" fmla="*/ 3634324 w 4103118"/>
              <a:gd name="connsiteY5" fmla="*/ 1996440 h 1996440"/>
              <a:gd name="connsiteX6" fmla="*/ 555844 w 4103118"/>
              <a:gd name="connsiteY6" fmla="*/ 1988820 h 1996440"/>
              <a:gd name="connsiteX0" fmla="*/ 555844 w 4103118"/>
              <a:gd name="connsiteY0" fmla="*/ 2009123 h 2016743"/>
              <a:gd name="connsiteX1" fmla="*/ 693004 w 4103118"/>
              <a:gd name="connsiteY1" fmla="*/ 637523 h 2016743"/>
              <a:gd name="connsiteX2" fmla="*/ 1348324 w 4103118"/>
              <a:gd name="connsiteY2" fmla="*/ 363203 h 2016743"/>
              <a:gd name="connsiteX3" fmla="*/ 2727544 w 4103118"/>
              <a:gd name="connsiteY3" fmla="*/ 20303 h 2016743"/>
              <a:gd name="connsiteX4" fmla="*/ 3771484 w 4103118"/>
              <a:gd name="connsiteY4" fmla="*/ 805163 h 2016743"/>
              <a:gd name="connsiteX5" fmla="*/ 3634324 w 4103118"/>
              <a:gd name="connsiteY5" fmla="*/ 2016743 h 2016743"/>
              <a:gd name="connsiteX6" fmla="*/ 555844 w 4103118"/>
              <a:gd name="connsiteY6" fmla="*/ 2009123 h 2016743"/>
              <a:gd name="connsiteX0" fmla="*/ 555844 w 4103118"/>
              <a:gd name="connsiteY0" fmla="*/ 2036906 h 2044526"/>
              <a:gd name="connsiteX1" fmla="*/ 693004 w 4103118"/>
              <a:gd name="connsiteY1" fmla="*/ 665306 h 2044526"/>
              <a:gd name="connsiteX2" fmla="*/ 1348324 w 4103118"/>
              <a:gd name="connsiteY2" fmla="*/ 390986 h 2044526"/>
              <a:gd name="connsiteX3" fmla="*/ 2727544 w 4103118"/>
              <a:gd name="connsiteY3" fmla="*/ 48086 h 2044526"/>
              <a:gd name="connsiteX4" fmla="*/ 3771484 w 4103118"/>
              <a:gd name="connsiteY4" fmla="*/ 832946 h 2044526"/>
              <a:gd name="connsiteX5" fmla="*/ 3634324 w 4103118"/>
              <a:gd name="connsiteY5" fmla="*/ 2044526 h 2044526"/>
              <a:gd name="connsiteX6" fmla="*/ 555844 w 4103118"/>
              <a:gd name="connsiteY6" fmla="*/ 2036906 h 2044526"/>
              <a:gd name="connsiteX0" fmla="*/ 555844 w 4103118"/>
              <a:gd name="connsiteY0" fmla="*/ 2097108 h 2104728"/>
              <a:gd name="connsiteX1" fmla="*/ 693004 w 4103118"/>
              <a:gd name="connsiteY1" fmla="*/ 725508 h 2104728"/>
              <a:gd name="connsiteX2" fmla="*/ 1348324 w 4103118"/>
              <a:gd name="connsiteY2" fmla="*/ 451188 h 2104728"/>
              <a:gd name="connsiteX3" fmla="*/ 2727544 w 4103118"/>
              <a:gd name="connsiteY3" fmla="*/ 108288 h 2104728"/>
              <a:gd name="connsiteX4" fmla="*/ 3771484 w 4103118"/>
              <a:gd name="connsiteY4" fmla="*/ 893148 h 2104728"/>
              <a:gd name="connsiteX5" fmla="*/ 3634324 w 4103118"/>
              <a:gd name="connsiteY5" fmla="*/ 2104728 h 2104728"/>
              <a:gd name="connsiteX6" fmla="*/ 555844 w 4103118"/>
              <a:gd name="connsiteY6" fmla="*/ 2097108 h 2104728"/>
              <a:gd name="connsiteX0" fmla="*/ 555844 w 4103118"/>
              <a:gd name="connsiteY0" fmla="*/ 2097108 h 2104728"/>
              <a:gd name="connsiteX1" fmla="*/ 693004 w 4103118"/>
              <a:gd name="connsiteY1" fmla="*/ 725508 h 2104728"/>
              <a:gd name="connsiteX2" fmla="*/ 1348324 w 4103118"/>
              <a:gd name="connsiteY2" fmla="*/ 451188 h 2104728"/>
              <a:gd name="connsiteX3" fmla="*/ 2727544 w 4103118"/>
              <a:gd name="connsiteY3" fmla="*/ 108288 h 2104728"/>
              <a:gd name="connsiteX4" fmla="*/ 3771484 w 4103118"/>
              <a:gd name="connsiteY4" fmla="*/ 893148 h 2104728"/>
              <a:gd name="connsiteX5" fmla="*/ 3634324 w 4103118"/>
              <a:gd name="connsiteY5" fmla="*/ 2104728 h 2104728"/>
              <a:gd name="connsiteX6" fmla="*/ 555844 w 4103118"/>
              <a:gd name="connsiteY6" fmla="*/ 2097108 h 2104728"/>
              <a:gd name="connsiteX0" fmla="*/ 555844 w 4103118"/>
              <a:gd name="connsiteY0" fmla="*/ 2264974 h 2272594"/>
              <a:gd name="connsiteX1" fmla="*/ 693004 w 4103118"/>
              <a:gd name="connsiteY1" fmla="*/ 893374 h 2272594"/>
              <a:gd name="connsiteX2" fmla="*/ 1348324 w 4103118"/>
              <a:gd name="connsiteY2" fmla="*/ 619054 h 2272594"/>
              <a:gd name="connsiteX3" fmla="*/ 2727544 w 4103118"/>
              <a:gd name="connsiteY3" fmla="*/ 276154 h 2272594"/>
              <a:gd name="connsiteX4" fmla="*/ 3771484 w 4103118"/>
              <a:gd name="connsiteY4" fmla="*/ 1061014 h 2272594"/>
              <a:gd name="connsiteX5" fmla="*/ 3634324 w 4103118"/>
              <a:gd name="connsiteY5" fmla="*/ 2272594 h 2272594"/>
              <a:gd name="connsiteX6" fmla="*/ 555844 w 4103118"/>
              <a:gd name="connsiteY6" fmla="*/ 2264974 h 2272594"/>
              <a:gd name="connsiteX0" fmla="*/ 555844 w 4103118"/>
              <a:gd name="connsiteY0" fmla="*/ 2339397 h 2347017"/>
              <a:gd name="connsiteX1" fmla="*/ 693004 w 4103118"/>
              <a:gd name="connsiteY1" fmla="*/ 967797 h 2347017"/>
              <a:gd name="connsiteX2" fmla="*/ 1348324 w 4103118"/>
              <a:gd name="connsiteY2" fmla="*/ 693477 h 2347017"/>
              <a:gd name="connsiteX3" fmla="*/ 2727544 w 4103118"/>
              <a:gd name="connsiteY3" fmla="*/ 350577 h 2347017"/>
              <a:gd name="connsiteX4" fmla="*/ 3771484 w 4103118"/>
              <a:gd name="connsiteY4" fmla="*/ 1135437 h 2347017"/>
              <a:gd name="connsiteX5" fmla="*/ 3634324 w 4103118"/>
              <a:gd name="connsiteY5" fmla="*/ 2347017 h 2347017"/>
              <a:gd name="connsiteX6" fmla="*/ 555844 w 4103118"/>
              <a:gd name="connsiteY6" fmla="*/ 2339397 h 2347017"/>
              <a:gd name="connsiteX0" fmla="*/ 555844 w 4103118"/>
              <a:gd name="connsiteY0" fmla="*/ 2374194 h 2381814"/>
              <a:gd name="connsiteX1" fmla="*/ 693004 w 4103118"/>
              <a:gd name="connsiteY1" fmla="*/ 1002594 h 2381814"/>
              <a:gd name="connsiteX2" fmla="*/ 1348324 w 4103118"/>
              <a:gd name="connsiteY2" fmla="*/ 728274 h 2381814"/>
              <a:gd name="connsiteX3" fmla="*/ 2727544 w 4103118"/>
              <a:gd name="connsiteY3" fmla="*/ 385374 h 2381814"/>
              <a:gd name="connsiteX4" fmla="*/ 3771484 w 4103118"/>
              <a:gd name="connsiteY4" fmla="*/ 1170234 h 2381814"/>
              <a:gd name="connsiteX5" fmla="*/ 3634324 w 4103118"/>
              <a:gd name="connsiteY5" fmla="*/ 2381814 h 2381814"/>
              <a:gd name="connsiteX6" fmla="*/ 555844 w 4103118"/>
              <a:gd name="connsiteY6" fmla="*/ 2374194 h 2381814"/>
              <a:gd name="connsiteX0" fmla="*/ 555844 w 4103118"/>
              <a:gd name="connsiteY0" fmla="*/ 2417730 h 2425350"/>
              <a:gd name="connsiteX1" fmla="*/ 693004 w 4103118"/>
              <a:gd name="connsiteY1" fmla="*/ 1046130 h 2425350"/>
              <a:gd name="connsiteX2" fmla="*/ 1348324 w 4103118"/>
              <a:gd name="connsiteY2" fmla="*/ 771810 h 2425350"/>
              <a:gd name="connsiteX3" fmla="*/ 2727544 w 4103118"/>
              <a:gd name="connsiteY3" fmla="*/ 428910 h 2425350"/>
              <a:gd name="connsiteX4" fmla="*/ 3771484 w 4103118"/>
              <a:gd name="connsiteY4" fmla="*/ 1213770 h 2425350"/>
              <a:gd name="connsiteX5" fmla="*/ 3634324 w 4103118"/>
              <a:gd name="connsiteY5" fmla="*/ 2425350 h 2425350"/>
              <a:gd name="connsiteX6" fmla="*/ 555844 w 4103118"/>
              <a:gd name="connsiteY6" fmla="*/ 2417730 h 2425350"/>
              <a:gd name="connsiteX0" fmla="*/ 555844 w 4103118"/>
              <a:gd name="connsiteY0" fmla="*/ 2472581 h 2480201"/>
              <a:gd name="connsiteX1" fmla="*/ 693004 w 4103118"/>
              <a:gd name="connsiteY1" fmla="*/ 1100981 h 2480201"/>
              <a:gd name="connsiteX2" fmla="*/ 1348324 w 4103118"/>
              <a:gd name="connsiteY2" fmla="*/ 826661 h 2480201"/>
              <a:gd name="connsiteX3" fmla="*/ 2727544 w 4103118"/>
              <a:gd name="connsiteY3" fmla="*/ 483761 h 2480201"/>
              <a:gd name="connsiteX4" fmla="*/ 3771484 w 4103118"/>
              <a:gd name="connsiteY4" fmla="*/ 1268621 h 2480201"/>
              <a:gd name="connsiteX5" fmla="*/ 3634324 w 4103118"/>
              <a:gd name="connsiteY5" fmla="*/ 2480201 h 2480201"/>
              <a:gd name="connsiteX6" fmla="*/ 555844 w 4103118"/>
              <a:gd name="connsiteY6" fmla="*/ 2472581 h 2480201"/>
              <a:gd name="connsiteX0" fmla="*/ 555844 w 4103118"/>
              <a:gd name="connsiteY0" fmla="*/ 2456621 h 2464241"/>
              <a:gd name="connsiteX1" fmla="*/ 693004 w 4103118"/>
              <a:gd name="connsiteY1" fmla="*/ 1085021 h 2464241"/>
              <a:gd name="connsiteX2" fmla="*/ 1348324 w 4103118"/>
              <a:gd name="connsiteY2" fmla="*/ 810701 h 2464241"/>
              <a:gd name="connsiteX3" fmla="*/ 2727544 w 4103118"/>
              <a:gd name="connsiteY3" fmla="*/ 467801 h 2464241"/>
              <a:gd name="connsiteX4" fmla="*/ 3771484 w 4103118"/>
              <a:gd name="connsiteY4" fmla="*/ 1252661 h 2464241"/>
              <a:gd name="connsiteX5" fmla="*/ 3634324 w 4103118"/>
              <a:gd name="connsiteY5" fmla="*/ 2464241 h 2464241"/>
              <a:gd name="connsiteX6" fmla="*/ 555844 w 4103118"/>
              <a:gd name="connsiteY6" fmla="*/ 2456621 h 2464241"/>
              <a:gd name="connsiteX0" fmla="*/ 555844 w 4103118"/>
              <a:gd name="connsiteY0" fmla="*/ 2456621 h 2464241"/>
              <a:gd name="connsiteX1" fmla="*/ 693004 w 4103118"/>
              <a:gd name="connsiteY1" fmla="*/ 1085021 h 2464241"/>
              <a:gd name="connsiteX2" fmla="*/ 1348324 w 4103118"/>
              <a:gd name="connsiteY2" fmla="*/ 810701 h 2464241"/>
              <a:gd name="connsiteX3" fmla="*/ 2727544 w 4103118"/>
              <a:gd name="connsiteY3" fmla="*/ 467801 h 2464241"/>
              <a:gd name="connsiteX4" fmla="*/ 3771484 w 4103118"/>
              <a:gd name="connsiteY4" fmla="*/ 1252661 h 2464241"/>
              <a:gd name="connsiteX5" fmla="*/ 3634324 w 4103118"/>
              <a:gd name="connsiteY5" fmla="*/ 2464241 h 2464241"/>
              <a:gd name="connsiteX6" fmla="*/ 555844 w 4103118"/>
              <a:gd name="connsiteY6" fmla="*/ 2456621 h 2464241"/>
              <a:gd name="connsiteX0" fmla="*/ 555844 w 4103118"/>
              <a:gd name="connsiteY0" fmla="*/ 2456621 h 2464241"/>
              <a:gd name="connsiteX1" fmla="*/ 693004 w 4103118"/>
              <a:gd name="connsiteY1" fmla="*/ 1085021 h 2464241"/>
              <a:gd name="connsiteX2" fmla="*/ 1348324 w 4103118"/>
              <a:gd name="connsiteY2" fmla="*/ 810701 h 2464241"/>
              <a:gd name="connsiteX3" fmla="*/ 2727544 w 4103118"/>
              <a:gd name="connsiteY3" fmla="*/ 467801 h 2464241"/>
              <a:gd name="connsiteX4" fmla="*/ 3771484 w 4103118"/>
              <a:gd name="connsiteY4" fmla="*/ 1252661 h 2464241"/>
              <a:gd name="connsiteX5" fmla="*/ 3634324 w 4103118"/>
              <a:gd name="connsiteY5" fmla="*/ 2464241 h 2464241"/>
              <a:gd name="connsiteX6" fmla="*/ 555844 w 4103118"/>
              <a:gd name="connsiteY6" fmla="*/ 2456621 h 2464241"/>
              <a:gd name="connsiteX0" fmla="*/ 555844 w 4103118"/>
              <a:gd name="connsiteY0" fmla="*/ 2456621 h 2464241"/>
              <a:gd name="connsiteX1" fmla="*/ 693004 w 4103118"/>
              <a:gd name="connsiteY1" fmla="*/ 1085021 h 2464241"/>
              <a:gd name="connsiteX2" fmla="*/ 1348324 w 4103118"/>
              <a:gd name="connsiteY2" fmla="*/ 810701 h 2464241"/>
              <a:gd name="connsiteX3" fmla="*/ 2727544 w 4103118"/>
              <a:gd name="connsiteY3" fmla="*/ 467801 h 2464241"/>
              <a:gd name="connsiteX4" fmla="*/ 3771484 w 4103118"/>
              <a:gd name="connsiteY4" fmla="*/ 1252661 h 2464241"/>
              <a:gd name="connsiteX5" fmla="*/ 3634324 w 4103118"/>
              <a:gd name="connsiteY5" fmla="*/ 2464241 h 2464241"/>
              <a:gd name="connsiteX6" fmla="*/ 555844 w 4103118"/>
              <a:gd name="connsiteY6" fmla="*/ 2456621 h 246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3118" h="2464241">
                <a:moveTo>
                  <a:pt x="555844" y="2456621"/>
                </a:moveTo>
                <a:cubicBezTo>
                  <a:pt x="-249336" y="2304221"/>
                  <a:pt x="-159166" y="1085021"/>
                  <a:pt x="693004" y="1085021"/>
                </a:cubicBezTo>
                <a:cubicBezTo>
                  <a:pt x="816194" y="955481"/>
                  <a:pt x="945734" y="737041"/>
                  <a:pt x="1348324" y="810701"/>
                </a:cubicBezTo>
                <a:cubicBezTo>
                  <a:pt x="1249264" y="55051"/>
                  <a:pt x="2299554" y="-389449"/>
                  <a:pt x="2727544" y="467801"/>
                </a:cubicBezTo>
                <a:cubicBezTo>
                  <a:pt x="3132674" y="176971"/>
                  <a:pt x="3772754" y="483041"/>
                  <a:pt x="3771484" y="1252661"/>
                </a:cubicBezTo>
                <a:cubicBezTo>
                  <a:pt x="4189314" y="1504121"/>
                  <a:pt x="4283294" y="2288981"/>
                  <a:pt x="3634324" y="2464241"/>
                </a:cubicBezTo>
                <a:lnTo>
                  <a:pt x="555844" y="2456621"/>
                </a:lnTo>
                <a:close/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80C4A9BB-784B-1BE6-5279-C7FE79B58C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9820" y="2224611"/>
            <a:ext cx="533467" cy="552985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944F89FA-17A3-0045-D15B-CBB5D373E467}"/>
              </a:ext>
            </a:extLst>
          </p:cNvPr>
          <p:cNvGrpSpPr>
            <a:grpSpLocks noChangeAspect="1"/>
          </p:cNvGrpSpPr>
          <p:nvPr/>
        </p:nvGrpSpPr>
        <p:grpSpPr>
          <a:xfrm>
            <a:off x="7134886" y="2680104"/>
            <a:ext cx="831272" cy="831272"/>
            <a:chOff x="2692040" y="1908175"/>
            <a:chExt cx="637101" cy="637101"/>
          </a:xfrm>
        </p:grpSpPr>
        <p:sp>
          <p:nvSpPr>
            <p:cNvPr id="56" name="Diamond 55">
              <a:extLst>
                <a:ext uri="{FF2B5EF4-FFF2-40B4-BE49-F238E27FC236}">
                  <a16:creationId xmlns:a16="http://schemas.microsoft.com/office/drawing/2014/main" id="{56434FB6-AEBE-42A7-D471-F5064C5161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92040" y="1908175"/>
              <a:ext cx="637101" cy="637101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2572EE7-9468-BF31-1B2D-419C8C80A4B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27238" y="2049427"/>
              <a:ext cx="366705" cy="326708"/>
              <a:chOff x="11375430" y="4403666"/>
              <a:chExt cx="786071" cy="700332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AD2C0AF9-557C-C7B0-6C55-450F362C9D4A}"/>
                  </a:ext>
                </a:extLst>
              </p:cNvPr>
              <p:cNvSpPr/>
              <p:nvPr/>
            </p:nvSpPr>
            <p:spPr>
              <a:xfrm rot="18931809">
                <a:off x="12023199" y="4730204"/>
                <a:ext cx="138302" cy="138302"/>
              </a:xfrm>
              <a:custGeom>
                <a:avLst/>
                <a:gdLst>
                  <a:gd name="connsiteX0" fmla="*/ 138303 w 138302"/>
                  <a:gd name="connsiteY0" fmla="*/ 69152 h 138302"/>
                  <a:gd name="connsiteX1" fmla="*/ 69152 w 138302"/>
                  <a:gd name="connsiteY1" fmla="*/ 138303 h 138302"/>
                  <a:gd name="connsiteX2" fmla="*/ 0 w 138302"/>
                  <a:gd name="connsiteY2" fmla="*/ 69152 h 138302"/>
                  <a:gd name="connsiteX3" fmla="*/ 69152 w 138302"/>
                  <a:gd name="connsiteY3" fmla="*/ 0 h 138302"/>
                  <a:gd name="connsiteX4" fmla="*/ 138303 w 138302"/>
                  <a:gd name="connsiteY4" fmla="*/ 69152 h 13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2">
                    <a:moveTo>
                      <a:pt x="138303" y="69152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2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2B114D22-3680-070D-B1C4-FA21BF02AF73}"/>
                  </a:ext>
                </a:extLst>
              </p:cNvPr>
              <p:cNvSpPr/>
              <p:nvPr/>
            </p:nvSpPr>
            <p:spPr>
              <a:xfrm rot="18931809">
                <a:off x="11702648" y="4403666"/>
                <a:ext cx="138302" cy="138303"/>
              </a:xfrm>
              <a:custGeom>
                <a:avLst/>
                <a:gdLst>
                  <a:gd name="connsiteX0" fmla="*/ 138303 w 138302"/>
                  <a:gd name="connsiteY0" fmla="*/ 69151 h 138303"/>
                  <a:gd name="connsiteX1" fmla="*/ 69152 w 138302"/>
                  <a:gd name="connsiteY1" fmla="*/ 138303 h 138303"/>
                  <a:gd name="connsiteX2" fmla="*/ 0 w 138302"/>
                  <a:gd name="connsiteY2" fmla="*/ 69151 h 138303"/>
                  <a:gd name="connsiteX3" fmla="*/ 69152 w 138302"/>
                  <a:gd name="connsiteY3" fmla="*/ 0 h 138303"/>
                  <a:gd name="connsiteX4" fmla="*/ 138303 w 138302"/>
                  <a:gd name="connsiteY4" fmla="*/ 69151 h 138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3">
                    <a:moveTo>
                      <a:pt x="138303" y="69151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1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83D8DBF-7235-D77A-416A-E49F782C6EF1}"/>
                  </a:ext>
                </a:extLst>
              </p:cNvPr>
              <p:cNvSpPr/>
              <p:nvPr/>
            </p:nvSpPr>
            <p:spPr>
              <a:xfrm rot="18931809">
                <a:off x="11702648" y="4965696"/>
                <a:ext cx="138302" cy="138302"/>
              </a:xfrm>
              <a:custGeom>
                <a:avLst/>
                <a:gdLst>
                  <a:gd name="connsiteX0" fmla="*/ 138303 w 138302"/>
                  <a:gd name="connsiteY0" fmla="*/ 69152 h 138302"/>
                  <a:gd name="connsiteX1" fmla="*/ 69152 w 138302"/>
                  <a:gd name="connsiteY1" fmla="*/ 138303 h 138302"/>
                  <a:gd name="connsiteX2" fmla="*/ 0 w 138302"/>
                  <a:gd name="connsiteY2" fmla="*/ 69152 h 138302"/>
                  <a:gd name="connsiteX3" fmla="*/ 69152 w 138302"/>
                  <a:gd name="connsiteY3" fmla="*/ 0 h 138302"/>
                  <a:gd name="connsiteX4" fmla="*/ 138303 w 138302"/>
                  <a:gd name="connsiteY4" fmla="*/ 69152 h 138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2">
                    <a:moveTo>
                      <a:pt x="138303" y="69152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2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2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21E79A3B-5585-50E1-87D1-7F1662B863D8}"/>
                  </a:ext>
                </a:extLst>
              </p:cNvPr>
              <p:cNvSpPr/>
              <p:nvPr/>
            </p:nvSpPr>
            <p:spPr>
              <a:xfrm rot="18931809">
                <a:off x="11375430" y="4724884"/>
                <a:ext cx="138302" cy="138303"/>
              </a:xfrm>
              <a:custGeom>
                <a:avLst/>
                <a:gdLst>
                  <a:gd name="connsiteX0" fmla="*/ 138303 w 138302"/>
                  <a:gd name="connsiteY0" fmla="*/ 69151 h 138303"/>
                  <a:gd name="connsiteX1" fmla="*/ 69152 w 138302"/>
                  <a:gd name="connsiteY1" fmla="*/ 138303 h 138303"/>
                  <a:gd name="connsiteX2" fmla="*/ 0 w 138302"/>
                  <a:gd name="connsiteY2" fmla="*/ 69151 h 138303"/>
                  <a:gd name="connsiteX3" fmla="*/ 69152 w 138302"/>
                  <a:gd name="connsiteY3" fmla="*/ 0 h 138303"/>
                  <a:gd name="connsiteX4" fmla="*/ 138303 w 138302"/>
                  <a:gd name="connsiteY4" fmla="*/ 69151 h 138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302" h="138303">
                    <a:moveTo>
                      <a:pt x="138303" y="69151"/>
                    </a:moveTo>
                    <a:cubicBezTo>
                      <a:pt x="138303" y="107343"/>
                      <a:pt x="107343" y="138303"/>
                      <a:pt x="69152" y="138303"/>
                    </a:cubicBezTo>
                    <a:cubicBezTo>
                      <a:pt x="30960" y="138303"/>
                      <a:pt x="0" y="107343"/>
                      <a:pt x="0" y="69151"/>
                    </a:cubicBezTo>
                    <a:cubicBezTo>
                      <a:pt x="0" y="30960"/>
                      <a:pt x="30960" y="0"/>
                      <a:pt x="69152" y="0"/>
                    </a:cubicBezTo>
                    <a:cubicBezTo>
                      <a:pt x="107343" y="0"/>
                      <a:pt x="138303" y="30960"/>
                      <a:pt x="138303" y="69151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CD7AE0E9-28AD-FE84-0101-D1952B35B9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71799" y="4540667"/>
                <a:ext cx="1101" cy="424239"/>
              </a:xfrm>
              <a:prstGeom prst="line">
                <a:avLst/>
              </a:pr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AAEE4E85-907D-A0B3-96C7-C765B740309C}"/>
                  </a:ext>
                </a:extLst>
              </p:cNvPr>
              <p:cNvCxnSpPr>
                <a:cxnSpLocks/>
                <a:stCxn id="59" idx="2"/>
                <a:endCxn id="61" idx="0"/>
              </p:cNvCxnSpPr>
              <p:nvPr/>
            </p:nvCxnSpPr>
            <p:spPr>
              <a:xfrm flipH="1">
                <a:off x="11493929" y="4521260"/>
                <a:ext cx="228522" cy="224332"/>
              </a:xfrm>
              <a:prstGeom prst="line">
                <a:avLst/>
              </a:pr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3FA68680-EB0F-2B11-261C-0E7118AD9D75}"/>
                  </a:ext>
                </a:extLst>
              </p:cNvPr>
              <p:cNvCxnSpPr>
                <a:cxnSpLocks/>
                <a:stCxn id="59" idx="1"/>
                <a:endCxn id="58" idx="3"/>
              </p:cNvCxnSpPr>
              <p:nvPr/>
            </p:nvCxnSpPr>
            <p:spPr>
              <a:xfrm>
                <a:off x="11820243" y="4522165"/>
                <a:ext cx="223665" cy="227842"/>
              </a:xfrm>
              <a:prstGeom prst="line">
                <a:avLst/>
              </a:pr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F7267F3D-8F47-0E91-094B-58D2F1F4B1E0}"/>
                  </a:ext>
                </a:extLst>
              </p:cNvPr>
              <p:cNvCxnSpPr>
                <a:cxnSpLocks/>
                <a:stCxn id="60" idx="0"/>
                <a:endCxn id="58" idx="2"/>
              </p:cNvCxnSpPr>
              <p:nvPr/>
            </p:nvCxnSpPr>
            <p:spPr>
              <a:xfrm flipV="1">
                <a:off x="11821148" y="4847798"/>
                <a:ext cx="221855" cy="138606"/>
              </a:xfrm>
              <a:prstGeom prst="line">
                <a:avLst/>
              </a:pr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6CDAA810-F141-15EA-DBEA-CAB69A008FA4}"/>
                  </a:ext>
                </a:extLst>
              </p:cNvPr>
              <p:cNvCxnSpPr>
                <a:cxnSpLocks/>
                <a:stCxn id="61" idx="1"/>
                <a:endCxn id="60" idx="3"/>
              </p:cNvCxnSpPr>
              <p:nvPr/>
            </p:nvCxnSpPr>
            <p:spPr>
              <a:xfrm>
                <a:off x="11493025" y="4843383"/>
                <a:ext cx="230332" cy="142116"/>
              </a:xfrm>
              <a:prstGeom prst="line">
                <a:avLst/>
              </a:pr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</p:cxn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090E5FC-9E64-1428-9326-CB2BA1234711}"/>
              </a:ext>
            </a:extLst>
          </p:cNvPr>
          <p:cNvGrpSpPr/>
          <p:nvPr/>
        </p:nvGrpSpPr>
        <p:grpSpPr>
          <a:xfrm>
            <a:off x="8221566" y="3107681"/>
            <a:ext cx="432353" cy="377918"/>
            <a:chOff x="11244263" y="3293969"/>
            <a:chExt cx="495300" cy="377918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FFF2F39-A37F-6DD9-9FCA-2670B523FED8}"/>
                </a:ext>
              </a:extLst>
            </p:cNvPr>
            <p:cNvSpPr/>
            <p:nvPr/>
          </p:nvSpPr>
          <p:spPr>
            <a:xfrm>
              <a:off x="11244263" y="3293969"/>
              <a:ext cx="495300" cy="96931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545AD4E-18A9-9047-4230-222014220689}"/>
                </a:ext>
              </a:extLst>
            </p:cNvPr>
            <p:cNvSpPr/>
            <p:nvPr/>
          </p:nvSpPr>
          <p:spPr>
            <a:xfrm>
              <a:off x="11244263" y="3392613"/>
              <a:ext cx="495300" cy="279274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47DEE42-29A6-E819-BCFB-0A96DD2E11C0}"/>
              </a:ext>
            </a:extLst>
          </p:cNvPr>
          <p:cNvGrpSpPr>
            <a:grpSpLocks noChangeAspect="1"/>
          </p:cNvGrpSpPr>
          <p:nvPr/>
        </p:nvGrpSpPr>
        <p:grpSpPr>
          <a:xfrm>
            <a:off x="1319617" y="2655332"/>
            <a:ext cx="417633" cy="667835"/>
            <a:chOff x="9222905" y="5161883"/>
            <a:chExt cx="379666" cy="607123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259C0E0-F69E-B6ED-046A-027358D6C0DB}"/>
                </a:ext>
              </a:extLst>
            </p:cNvPr>
            <p:cNvSpPr/>
            <p:nvPr/>
          </p:nvSpPr>
          <p:spPr>
            <a:xfrm>
              <a:off x="9304820" y="5222271"/>
              <a:ext cx="127825" cy="546735"/>
            </a:xfrm>
            <a:custGeom>
              <a:avLst/>
              <a:gdLst>
                <a:gd name="connsiteX0" fmla="*/ 0 w 127825"/>
                <a:gd name="connsiteY0" fmla="*/ 546735 h 546735"/>
                <a:gd name="connsiteX1" fmla="*/ 0 w 127825"/>
                <a:gd name="connsiteY1" fmla="*/ 127825 h 546735"/>
                <a:gd name="connsiteX2" fmla="*/ 127826 w 127825"/>
                <a:gd name="connsiteY2" fmla="*/ 0 h 546735"/>
                <a:gd name="connsiteX3" fmla="*/ 127826 w 127825"/>
                <a:gd name="connsiteY3" fmla="*/ 100108 h 54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825" h="546735">
                  <a:moveTo>
                    <a:pt x="0" y="546735"/>
                  </a:moveTo>
                  <a:lnTo>
                    <a:pt x="0" y="127825"/>
                  </a:lnTo>
                  <a:lnTo>
                    <a:pt x="127826" y="0"/>
                  </a:lnTo>
                  <a:lnTo>
                    <a:pt x="127826" y="100108"/>
                  </a:ln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476B70D3-0B9A-F51B-78A8-C6C543F2B641}"/>
                </a:ext>
              </a:extLst>
            </p:cNvPr>
            <p:cNvSpPr/>
            <p:nvPr/>
          </p:nvSpPr>
          <p:spPr>
            <a:xfrm>
              <a:off x="9222905" y="5408771"/>
              <a:ext cx="379666" cy="360235"/>
            </a:xfrm>
            <a:custGeom>
              <a:avLst/>
              <a:gdLst>
                <a:gd name="connsiteX0" fmla="*/ 189262 w 379666"/>
                <a:gd name="connsiteY0" fmla="*/ 360236 h 360235"/>
                <a:gd name="connsiteX1" fmla="*/ 189262 w 379666"/>
                <a:gd name="connsiteY1" fmla="*/ 0 h 360235"/>
                <a:gd name="connsiteX2" fmla="*/ 379667 w 379666"/>
                <a:gd name="connsiteY2" fmla="*/ 0 h 360235"/>
                <a:gd name="connsiteX3" fmla="*/ 379667 w 379666"/>
                <a:gd name="connsiteY3" fmla="*/ 360236 h 360235"/>
                <a:gd name="connsiteX4" fmla="*/ 0 w 379666"/>
                <a:gd name="connsiteY4" fmla="*/ 360236 h 360235"/>
                <a:gd name="connsiteX5" fmla="*/ 0 w 379666"/>
                <a:gd name="connsiteY5" fmla="*/ 158210 h 360235"/>
                <a:gd name="connsiteX6" fmla="*/ 0 w 379666"/>
                <a:gd name="connsiteY6" fmla="*/ 79629 h 360235"/>
                <a:gd name="connsiteX7" fmla="*/ 79724 w 379666"/>
                <a:gd name="connsiteY7" fmla="*/ 0 h 360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666" h="360235">
                  <a:moveTo>
                    <a:pt x="189262" y="360236"/>
                  </a:moveTo>
                  <a:lnTo>
                    <a:pt x="189262" y="0"/>
                  </a:lnTo>
                  <a:lnTo>
                    <a:pt x="379667" y="0"/>
                  </a:lnTo>
                  <a:lnTo>
                    <a:pt x="379667" y="360236"/>
                  </a:lnTo>
                  <a:lnTo>
                    <a:pt x="0" y="360236"/>
                  </a:lnTo>
                  <a:lnTo>
                    <a:pt x="0" y="158210"/>
                  </a:lnTo>
                  <a:lnTo>
                    <a:pt x="0" y="79629"/>
                  </a:lnTo>
                  <a:lnTo>
                    <a:pt x="79724" y="0"/>
                  </a:ln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04BE6FC-836F-D68B-565F-320A6A64792F}"/>
                </a:ext>
              </a:extLst>
            </p:cNvPr>
            <p:cNvSpPr/>
            <p:nvPr/>
          </p:nvSpPr>
          <p:spPr>
            <a:xfrm>
              <a:off x="9440932" y="5346763"/>
              <a:ext cx="131730" cy="58102"/>
            </a:xfrm>
            <a:custGeom>
              <a:avLst/>
              <a:gdLst>
                <a:gd name="connsiteX0" fmla="*/ 0 w 131730"/>
                <a:gd name="connsiteY0" fmla="*/ 58102 h 58102"/>
                <a:gd name="connsiteX1" fmla="*/ 0 w 131730"/>
                <a:gd name="connsiteY1" fmla="*/ 0 h 58102"/>
                <a:gd name="connsiteX2" fmla="*/ 131731 w 131730"/>
                <a:gd name="connsiteY2" fmla="*/ 0 h 58102"/>
                <a:gd name="connsiteX3" fmla="*/ 131731 w 131730"/>
                <a:gd name="connsiteY3" fmla="*/ 58102 h 5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730" h="58102">
                  <a:moveTo>
                    <a:pt x="0" y="58102"/>
                  </a:moveTo>
                  <a:lnTo>
                    <a:pt x="0" y="0"/>
                  </a:lnTo>
                  <a:lnTo>
                    <a:pt x="131731" y="0"/>
                  </a:lnTo>
                  <a:lnTo>
                    <a:pt x="131731" y="58102"/>
                  </a:ln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7E0CFAA-14CC-7CE8-B187-9F131524E6FE}"/>
                </a:ext>
              </a:extLst>
            </p:cNvPr>
            <p:cNvSpPr/>
            <p:nvPr/>
          </p:nvSpPr>
          <p:spPr>
            <a:xfrm>
              <a:off x="9469603" y="5279231"/>
              <a:ext cx="74866" cy="61245"/>
            </a:xfrm>
            <a:custGeom>
              <a:avLst/>
              <a:gdLst>
                <a:gd name="connsiteX0" fmla="*/ 0 w 74866"/>
                <a:gd name="connsiteY0" fmla="*/ 61246 h 61245"/>
                <a:gd name="connsiteX1" fmla="*/ 0 w 74866"/>
                <a:gd name="connsiteY1" fmla="*/ 0 h 61245"/>
                <a:gd name="connsiteX2" fmla="*/ 74867 w 74866"/>
                <a:gd name="connsiteY2" fmla="*/ 0 h 61245"/>
                <a:gd name="connsiteX3" fmla="*/ 74867 w 74866"/>
                <a:gd name="connsiteY3" fmla="*/ 59341 h 6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866" h="61245">
                  <a:moveTo>
                    <a:pt x="0" y="61246"/>
                  </a:moveTo>
                  <a:lnTo>
                    <a:pt x="0" y="0"/>
                  </a:lnTo>
                  <a:lnTo>
                    <a:pt x="74867" y="0"/>
                  </a:lnTo>
                  <a:lnTo>
                    <a:pt x="74867" y="59341"/>
                  </a:ln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8DDE837-678D-4BE4-4864-6B7CFC72E98F}"/>
                </a:ext>
              </a:extLst>
            </p:cNvPr>
            <p:cNvSpPr/>
            <p:nvPr/>
          </p:nvSpPr>
          <p:spPr>
            <a:xfrm>
              <a:off x="9504083" y="5161883"/>
              <a:ext cx="9525" cy="117348"/>
            </a:xfrm>
            <a:custGeom>
              <a:avLst/>
              <a:gdLst>
                <a:gd name="connsiteX0" fmla="*/ 0 w 9525"/>
                <a:gd name="connsiteY0" fmla="*/ 0 h 117348"/>
                <a:gd name="connsiteX1" fmla="*/ 0 w 9525"/>
                <a:gd name="connsiteY1" fmla="*/ 117348 h 11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7348">
                  <a:moveTo>
                    <a:pt x="0" y="0"/>
                  </a:moveTo>
                  <a:lnTo>
                    <a:pt x="0" y="117348"/>
                  </a:lnTo>
                </a:path>
              </a:pathLst>
            </a:custGeom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E557FAB-D85A-A71F-9607-67937AB6773E}"/>
              </a:ext>
            </a:extLst>
          </p:cNvPr>
          <p:cNvGrpSpPr/>
          <p:nvPr/>
        </p:nvGrpSpPr>
        <p:grpSpPr>
          <a:xfrm>
            <a:off x="4003338" y="2865168"/>
            <a:ext cx="354806" cy="716231"/>
            <a:chOff x="4060032" y="2865168"/>
            <a:chExt cx="354806" cy="71623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FB3663D-D1F2-DB57-DF9F-7390CA4F9CE4}"/>
                </a:ext>
              </a:extLst>
            </p:cNvPr>
            <p:cNvSpPr/>
            <p:nvPr/>
          </p:nvSpPr>
          <p:spPr>
            <a:xfrm>
              <a:off x="4060032" y="2865168"/>
              <a:ext cx="354806" cy="716231"/>
            </a:xfrm>
            <a:custGeom>
              <a:avLst/>
              <a:gdLst>
                <a:gd name="connsiteX0" fmla="*/ 59136 w 354806"/>
                <a:gd name="connsiteY0" fmla="*/ 0 h 698862"/>
                <a:gd name="connsiteX1" fmla="*/ 295670 w 354806"/>
                <a:gd name="connsiteY1" fmla="*/ 0 h 698862"/>
                <a:gd name="connsiteX2" fmla="*/ 354806 w 354806"/>
                <a:gd name="connsiteY2" fmla="*/ 59136 h 698862"/>
                <a:gd name="connsiteX3" fmla="*/ 354806 w 354806"/>
                <a:gd name="connsiteY3" fmla="*/ 692813 h 698862"/>
                <a:gd name="connsiteX4" fmla="*/ 353585 w 354806"/>
                <a:gd name="connsiteY4" fmla="*/ 698862 h 698862"/>
                <a:gd name="connsiteX5" fmla="*/ 1221 w 354806"/>
                <a:gd name="connsiteY5" fmla="*/ 698862 h 698862"/>
                <a:gd name="connsiteX6" fmla="*/ 0 w 354806"/>
                <a:gd name="connsiteY6" fmla="*/ 692813 h 698862"/>
                <a:gd name="connsiteX7" fmla="*/ 0 w 354806"/>
                <a:gd name="connsiteY7" fmla="*/ 59136 h 698862"/>
                <a:gd name="connsiteX8" fmla="*/ 59136 w 354806"/>
                <a:gd name="connsiteY8" fmla="*/ 0 h 69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806" h="698862">
                  <a:moveTo>
                    <a:pt x="59136" y="0"/>
                  </a:moveTo>
                  <a:lnTo>
                    <a:pt x="295670" y="0"/>
                  </a:lnTo>
                  <a:cubicBezTo>
                    <a:pt x="328330" y="0"/>
                    <a:pt x="354806" y="26476"/>
                    <a:pt x="354806" y="59136"/>
                  </a:cubicBezTo>
                  <a:lnTo>
                    <a:pt x="354806" y="692813"/>
                  </a:lnTo>
                  <a:lnTo>
                    <a:pt x="353585" y="698862"/>
                  </a:lnTo>
                  <a:lnTo>
                    <a:pt x="1221" y="698862"/>
                  </a:lnTo>
                  <a:lnTo>
                    <a:pt x="0" y="692813"/>
                  </a:lnTo>
                  <a:lnTo>
                    <a:pt x="0" y="59136"/>
                  </a:lnTo>
                  <a:cubicBezTo>
                    <a:pt x="0" y="26476"/>
                    <a:pt x="26476" y="0"/>
                    <a:pt x="59136" y="0"/>
                  </a:cubicBezTo>
                  <a:close/>
                </a:path>
              </a:pathLst>
            </a:custGeom>
            <a:noFill/>
            <a:ln w="6350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Arrow: Right 85">
              <a:extLst>
                <a:ext uri="{FF2B5EF4-FFF2-40B4-BE49-F238E27FC236}">
                  <a16:creationId xmlns:a16="http://schemas.microsoft.com/office/drawing/2014/main" id="{E6524BF5-450A-2906-B02E-E9417A353B9A}"/>
                </a:ext>
              </a:extLst>
            </p:cNvPr>
            <p:cNvSpPr/>
            <p:nvPr/>
          </p:nvSpPr>
          <p:spPr>
            <a:xfrm>
              <a:off x="4168316" y="3091237"/>
              <a:ext cx="157536" cy="109619"/>
            </a:xfrm>
            <a:prstGeom prst="rightArrow">
              <a:avLst>
                <a:gd name="adj1" fmla="val 50000"/>
                <a:gd name="adj2" fmla="val 71216"/>
              </a:avLst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Arrow: Right 86">
              <a:extLst>
                <a:ext uri="{FF2B5EF4-FFF2-40B4-BE49-F238E27FC236}">
                  <a16:creationId xmlns:a16="http://schemas.microsoft.com/office/drawing/2014/main" id="{4BEDF31A-FE28-BFCE-47C8-87A4BE100D71}"/>
                </a:ext>
              </a:extLst>
            </p:cNvPr>
            <p:cNvSpPr/>
            <p:nvPr/>
          </p:nvSpPr>
          <p:spPr>
            <a:xfrm flipH="1">
              <a:off x="4168316" y="3227124"/>
              <a:ext cx="157536" cy="109619"/>
            </a:xfrm>
            <a:prstGeom prst="rightArrow">
              <a:avLst>
                <a:gd name="adj1" fmla="val 50000"/>
                <a:gd name="adj2" fmla="val 71216"/>
              </a:avLst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101058F-2C07-1912-D6F8-8B0D1618679A}"/>
                </a:ext>
              </a:extLst>
            </p:cNvPr>
            <p:cNvSpPr/>
            <p:nvPr/>
          </p:nvSpPr>
          <p:spPr>
            <a:xfrm>
              <a:off x="4109419" y="2969662"/>
              <a:ext cx="256032" cy="36576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B149408-D1EB-A5A7-2299-B0BBBEE0242E}"/>
                </a:ext>
              </a:extLst>
            </p:cNvPr>
            <p:cNvSpPr/>
            <p:nvPr/>
          </p:nvSpPr>
          <p:spPr>
            <a:xfrm>
              <a:off x="4109419" y="3407792"/>
              <a:ext cx="256032" cy="36576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3510C6C2-7279-49C3-6AEF-1163FC9FF37F}"/>
                </a:ext>
              </a:extLst>
            </p:cNvPr>
            <p:cNvSpPr/>
            <p:nvPr/>
          </p:nvSpPr>
          <p:spPr>
            <a:xfrm>
              <a:off x="4109419" y="3471018"/>
              <a:ext cx="256032" cy="36576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A4739930-B4DB-D7D1-4725-1AB41EAB54F8}"/>
              </a:ext>
            </a:extLst>
          </p:cNvPr>
          <p:cNvGrpSpPr>
            <a:grpSpLocks noChangeAspect="1"/>
          </p:cNvGrpSpPr>
          <p:nvPr/>
        </p:nvGrpSpPr>
        <p:grpSpPr>
          <a:xfrm>
            <a:off x="1895814" y="2850741"/>
            <a:ext cx="551586" cy="695167"/>
            <a:chOff x="1505321" y="4122708"/>
            <a:chExt cx="568300" cy="716231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C2255578-5241-F01B-D25B-3898073260C9}"/>
                </a:ext>
              </a:extLst>
            </p:cNvPr>
            <p:cNvGrpSpPr/>
            <p:nvPr/>
          </p:nvGrpSpPr>
          <p:grpSpPr>
            <a:xfrm>
              <a:off x="1505321" y="4122708"/>
              <a:ext cx="354806" cy="716231"/>
              <a:chOff x="4060032" y="2865168"/>
              <a:chExt cx="354806" cy="716231"/>
            </a:xfrm>
          </p:grpSpPr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E654A1E6-6A4D-EAE9-D1C3-167F7ED98C68}"/>
                  </a:ext>
                </a:extLst>
              </p:cNvPr>
              <p:cNvSpPr/>
              <p:nvPr/>
            </p:nvSpPr>
            <p:spPr>
              <a:xfrm>
                <a:off x="4060032" y="2865168"/>
                <a:ext cx="354806" cy="716231"/>
              </a:xfrm>
              <a:custGeom>
                <a:avLst/>
                <a:gdLst>
                  <a:gd name="connsiteX0" fmla="*/ 59136 w 354806"/>
                  <a:gd name="connsiteY0" fmla="*/ 0 h 698862"/>
                  <a:gd name="connsiteX1" fmla="*/ 295670 w 354806"/>
                  <a:gd name="connsiteY1" fmla="*/ 0 h 698862"/>
                  <a:gd name="connsiteX2" fmla="*/ 354806 w 354806"/>
                  <a:gd name="connsiteY2" fmla="*/ 59136 h 698862"/>
                  <a:gd name="connsiteX3" fmla="*/ 354806 w 354806"/>
                  <a:gd name="connsiteY3" fmla="*/ 692813 h 698862"/>
                  <a:gd name="connsiteX4" fmla="*/ 353585 w 354806"/>
                  <a:gd name="connsiteY4" fmla="*/ 698862 h 698862"/>
                  <a:gd name="connsiteX5" fmla="*/ 1221 w 354806"/>
                  <a:gd name="connsiteY5" fmla="*/ 698862 h 698862"/>
                  <a:gd name="connsiteX6" fmla="*/ 0 w 354806"/>
                  <a:gd name="connsiteY6" fmla="*/ 692813 h 698862"/>
                  <a:gd name="connsiteX7" fmla="*/ 0 w 354806"/>
                  <a:gd name="connsiteY7" fmla="*/ 59136 h 698862"/>
                  <a:gd name="connsiteX8" fmla="*/ 59136 w 354806"/>
                  <a:gd name="connsiteY8" fmla="*/ 0 h 698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806" h="698862">
                    <a:moveTo>
                      <a:pt x="59136" y="0"/>
                    </a:moveTo>
                    <a:lnTo>
                      <a:pt x="295670" y="0"/>
                    </a:lnTo>
                    <a:cubicBezTo>
                      <a:pt x="328330" y="0"/>
                      <a:pt x="354806" y="26476"/>
                      <a:pt x="354806" y="59136"/>
                    </a:cubicBezTo>
                    <a:lnTo>
                      <a:pt x="354806" y="692813"/>
                    </a:lnTo>
                    <a:lnTo>
                      <a:pt x="353585" y="698862"/>
                    </a:lnTo>
                    <a:lnTo>
                      <a:pt x="1221" y="698862"/>
                    </a:lnTo>
                    <a:lnTo>
                      <a:pt x="0" y="692813"/>
                    </a:lnTo>
                    <a:lnTo>
                      <a:pt x="0" y="59136"/>
                    </a:lnTo>
                    <a:cubicBezTo>
                      <a:pt x="0" y="26476"/>
                      <a:pt x="26476" y="0"/>
                      <a:pt x="59136" y="0"/>
                    </a:cubicBezTo>
                    <a:close/>
                  </a:path>
                </a:pathLst>
              </a:custGeom>
              <a:noFill/>
              <a:ln w="6350">
                <a:solidFill>
                  <a:srgbClr val="00338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4610" tIns="54610" rIns="54610" bIns="54610" rtlCol="0" anchor="ctr">
                <a:noAutofit/>
              </a:bodyPr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908EA71C-DCB4-D858-09F9-C7E8B066C37A}"/>
                  </a:ext>
                </a:extLst>
              </p:cNvPr>
              <p:cNvSpPr/>
              <p:nvPr/>
            </p:nvSpPr>
            <p:spPr>
              <a:xfrm>
                <a:off x="4109419" y="2969662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098493B-18C5-0B38-2389-0E46A2ABC73F}"/>
                  </a:ext>
                </a:extLst>
              </p:cNvPr>
              <p:cNvSpPr/>
              <p:nvPr/>
            </p:nvSpPr>
            <p:spPr>
              <a:xfrm>
                <a:off x="4109419" y="3407792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073EC0FC-AE53-178A-2CB3-B66B10F3CE40}"/>
                  </a:ext>
                </a:extLst>
              </p:cNvPr>
              <p:cNvSpPr/>
              <p:nvPr/>
            </p:nvSpPr>
            <p:spPr>
              <a:xfrm>
                <a:off x="4109419" y="3471018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62E93BA-7415-6FEE-0198-F45572A78E7F}"/>
                </a:ext>
              </a:extLst>
            </p:cNvPr>
            <p:cNvSpPr/>
            <p:nvPr/>
          </p:nvSpPr>
          <p:spPr>
            <a:xfrm>
              <a:off x="1657191" y="4478540"/>
              <a:ext cx="416430" cy="360155"/>
            </a:xfrm>
            <a:custGeom>
              <a:avLst/>
              <a:gdLst>
                <a:gd name="connsiteX0" fmla="*/ 304800 w 609695"/>
                <a:gd name="connsiteY0" fmla="*/ 0 h 527304"/>
                <a:gd name="connsiteX1" fmla="*/ 457295 w 609695"/>
                <a:gd name="connsiteY1" fmla="*/ 263652 h 527304"/>
                <a:gd name="connsiteX2" fmla="*/ 609695 w 609695"/>
                <a:gd name="connsiteY2" fmla="*/ 527304 h 527304"/>
                <a:gd name="connsiteX3" fmla="*/ 304800 w 609695"/>
                <a:gd name="connsiteY3" fmla="*/ 527304 h 527304"/>
                <a:gd name="connsiteX4" fmla="*/ 0 w 609695"/>
                <a:gd name="connsiteY4" fmla="*/ 527304 h 527304"/>
                <a:gd name="connsiteX5" fmla="*/ 152400 w 609695"/>
                <a:gd name="connsiteY5" fmla="*/ 263652 h 527304"/>
                <a:gd name="connsiteX6" fmla="*/ 304800 w 609695"/>
                <a:gd name="connsiteY6" fmla="*/ 0 h 527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95" h="527304">
                  <a:moveTo>
                    <a:pt x="304800" y="0"/>
                  </a:moveTo>
                  <a:lnTo>
                    <a:pt x="457295" y="263652"/>
                  </a:lnTo>
                  <a:lnTo>
                    <a:pt x="609695" y="527304"/>
                  </a:lnTo>
                  <a:lnTo>
                    <a:pt x="304800" y="527304"/>
                  </a:lnTo>
                  <a:lnTo>
                    <a:pt x="0" y="527304"/>
                  </a:lnTo>
                  <a:lnTo>
                    <a:pt x="152400" y="263652"/>
                  </a:lnTo>
                  <a:lnTo>
                    <a:pt x="304800" y="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A191374A-21C9-D5E9-0843-56C95D3F2882}"/>
              </a:ext>
            </a:extLst>
          </p:cNvPr>
          <p:cNvSpPr txBox="1"/>
          <p:nvPr/>
        </p:nvSpPr>
        <p:spPr>
          <a:xfrm>
            <a:off x="4146951" y="5527746"/>
            <a:ext cx="42238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dirty="0"/>
              <a:t>AD FS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34E986B-52FC-1E0E-7AB8-DFE0674602F9}"/>
              </a:ext>
            </a:extLst>
          </p:cNvPr>
          <p:cNvGrpSpPr/>
          <p:nvPr/>
        </p:nvGrpSpPr>
        <p:grpSpPr>
          <a:xfrm>
            <a:off x="4098175" y="4783230"/>
            <a:ext cx="551586" cy="695167"/>
            <a:chOff x="2738503" y="4783752"/>
            <a:chExt cx="551586" cy="69516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ABB97081-6E88-2F76-724D-AC3828122BED}"/>
                </a:ext>
              </a:extLst>
            </p:cNvPr>
            <p:cNvGrpSpPr/>
            <p:nvPr/>
          </p:nvGrpSpPr>
          <p:grpSpPr>
            <a:xfrm>
              <a:off x="2738503" y="4783752"/>
              <a:ext cx="344371" cy="695167"/>
              <a:chOff x="4060032" y="2865168"/>
              <a:chExt cx="354806" cy="716231"/>
            </a:xfrm>
          </p:grpSpPr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6A104A26-F880-C1C9-E4A8-5167D8C1401A}"/>
                  </a:ext>
                </a:extLst>
              </p:cNvPr>
              <p:cNvSpPr/>
              <p:nvPr/>
            </p:nvSpPr>
            <p:spPr>
              <a:xfrm>
                <a:off x="4060032" y="2865168"/>
                <a:ext cx="354806" cy="716231"/>
              </a:xfrm>
              <a:custGeom>
                <a:avLst/>
                <a:gdLst>
                  <a:gd name="connsiteX0" fmla="*/ 59136 w 354806"/>
                  <a:gd name="connsiteY0" fmla="*/ 0 h 698862"/>
                  <a:gd name="connsiteX1" fmla="*/ 295670 w 354806"/>
                  <a:gd name="connsiteY1" fmla="*/ 0 h 698862"/>
                  <a:gd name="connsiteX2" fmla="*/ 354806 w 354806"/>
                  <a:gd name="connsiteY2" fmla="*/ 59136 h 698862"/>
                  <a:gd name="connsiteX3" fmla="*/ 354806 w 354806"/>
                  <a:gd name="connsiteY3" fmla="*/ 692813 h 698862"/>
                  <a:gd name="connsiteX4" fmla="*/ 353585 w 354806"/>
                  <a:gd name="connsiteY4" fmla="*/ 698862 h 698862"/>
                  <a:gd name="connsiteX5" fmla="*/ 1221 w 354806"/>
                  <a:gd name="connsiteY5" fmla="*/ 698862 h 698862"/>
                  <a:gd name="connsiteX6" fmla="*/ 0 w 354806"/>
                  <a:gd name="connsiteY6" fmla="*/ 692813 h 698862"/>
                  <a:gd name="connsiteX7" fmla="*/ 0 w 354806"/>
                  <a:gd name="connsiteY7" fmla="*/ 59136 h 698862"/>
                  <a:gd name="connsiteX8" fmla="*/ 59136 w 354806"/>
                  <a:gd name="connsiteY8" fmla="*/ 0 h 698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806" h="698862">
                    <a:moveTo>
                      <a:pt x="59136" y="0"/>
                    </a:moveTo>
                    <a:lnTo>
                      <a:pt x="295670" y="0"/>
                    </a:lnTo>
                    <a:cubicBezTo>
                      <a:pt x="328330" y="0"/>
                      <a:pt x="354806" y="26476"/>
                      <a:pt x="354806" y="59136"/>
                    </a:cubicBezTo>
                    <a:lnTo>
                      <a:pt x="354806" y="692813"/>
                    </a:lnTo>
                    <a:lnTo>
                      <a:pt x="353585" y="698862"/>
                    </a:lnTo>
                    <a:lnTo>
                      <a:pt x="1221" y="698862"/>
                    </a:lnTo>
                    <a:lnTo>
                      <a:pt x="0" y="692813"/>
                    </a:lnTo>
                    <a:lnTo>
                      <a:pt x="0" y="59136"/>
                    </a:lnTo>
                    <a:cubicBezTo>
                      <a:pt x="0" y="26476"/>
                      <a:pt x="26476" y="0"/>
                      <a:pt x="59136" y="0"/>
                    </a:cubicBezTo>
                    <a:close/>
                  </a:path>
                </a:pathLst>
              </a:custGeom>
              <a:noFill/>
              <a:ln w="6350">
                <a:solidFill>
                  <a:srgbClr val="00338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4610" tIns="54610" rIns="54610" bIns="54610" rtlCol="0" anchor="ctr">
                <a:noAutofit/>
              </a:bodyPr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3F6E4B92-421D-068C-7670-B0ED32B8958C}"/>
                  </a:ext>
                </a:extLst>
              </p:cNvPr>
              <p:cNvSpPr/>
              <p:nvPr/>
            </p:nvSpPr>
            <p:spPr>
              <a:xfrm>
                <a:off x="4109419" y="2969662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EEDF0231-7A62-DA82-1717-6E211648F522}"/>
                  </a:ext>
                </a:extLst>
              </p:cNvPr>
              <p:cNvSpPr/>
              <p:nvPr/>
            </p:nvSpPr>
            <p:spPr>
              <a:xfrm>
                <a:off x="4109419" y="3407792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9276910A-B9E4-7B29-3672-0DD0ABAA664B}"/>
                  </a:ext>
                </a:extLst>
              </p:cNvPr>
              <p:cNvSpPr/>
              <p:nvPr/>
            </p:nvSpPr>
            <p:spPr>
              <a:xfrm>
                <a:off x="4109419" y="3471018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9EE15F5-81CF-CB04-10BC-7AAF93603076}"/>
                </a:ext>
              </a:extLst>
            </p:cNvPr>
            <p:cNvSpPr/>
            <p:nvPr/>
          </p:nvSpPr>
          <p:spPr>
            <a:xfrm>
              <a:off x="2885906" y="5129119"/>
              <a:ext cx="404183" cy="349563"/>
            </a:xfrm>
            <a:custGeom>
              <a:avLst/>
              <a:gdLst>
                <a:gd name="connsiteX0" fmla="*/ 304800 w 609695"/>
                <a:gd name="connsiteY0" fmla="*/ 0 h 527304"/>
                <a:gd name="connsiteX1" fmla="*/ 457295 w 609695"/>
                <a:gd name="connsiteY1" fmla="*/ 263652 h 527304"/>
                <a:gd name="connsiteX2" fmla="*/ 609695 w 609695"/>
                <a:gd name="connsiteY2" fmla="*/ 527304 h 527304"/>
                <a:gd name="connsiteX3" fmla="*/ 304800 w 609695"/>
                <a:gd name="connsiteY3" fmla="*/ 527304 h 527304"/>
                <a:gd name="connsiteX4" fmla="*/ 0 w 609695"/>
                <a:gd name="connsiteY4" fmla="*/ 527304 h 527304"/>
                <a:gd name="connsiteX5" fmla="*/ 152400 w 609695"/>
                <a:gd name="connsiteY5" fmla="*/ 263652 h 527304"/>
                <a:gd name="connsiteX6" fmla="*/ 304800 w 609695"/>
                <a:gd name="connsiteY6" fmla="*/ 0 h 527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95" h="527304">
                  <a:moveTo>
                    <a:pt x="304800" y="0"/>
                  </a:moveTo>
                  <a:lnTo>
                    <a:pt x="457295" y="263652"/>
                  </a:lnTo>
                  <a:lnTo>
                    <a:pt x="609695" y="527304"/>
                  </a:lnTo>
                  <a:lnTo>
                    <a:pt x="304800" y="527304"/>
                  </a:lnTo>
                  <a:lnTo>
                    <a:pt x="0" y="527304"/>
                  </a:lnTo>
                  <a:lnTo>
                    <a:pt x="152400" y="263652"/>
                  </a:lnTo>
                  <a:lnTo>
                    <a:pt x="304800" y="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21E56494-317A-0A59-653F-B0A66C8B0FD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96544" y="5261723"/>
              <a:ext cx="174317" cy="174538"/>
              <a:chOff x="5131756" y="1453229"/>
              <a:chExt cx="601789" cy="602550"/>
            </a:xfrm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D5DC1411-A4ED-86A1-271A-349A3E08C342}"/>
                  </a:ext>
                </a:extLst>
              </p:cNvPr>
              <p:cNvSpPr/>
              <p:nvPr/>
            </p:nvSpPr>
            <p:spPr>
              <a:xfrm>
                <a:off x="5359784" y="1453229"/>
                <a:ext cx="147065" cy="147065"/>
              </a:xfrm>
              <a:custGeom>
                <a:avLst/>
                <a:gdLst>
                  <a:gd name="connsiteX0" fmla="*/ 147066 w 147065"/>
                  <a:gd name="connsiteY0" fmla="*/ 73533 h 147065"/>
                  <a:gd name="connsiteX1" fmla="*/ 73533 w 147065"/>
                  <a:gd name="connsiteY1" fmla="*/ 147066 h 147065"/>
                  <a:gd name="connsiteX2" fmla="*/ 0 w 147065"/>
                  <a:gd name="connsiteY2" fmla="*/ 73533 h 147065"/>
                  <a:gd name="connsiteX3" fmla="*/ 73533 w 147065"/>
                  <a:gd name="connsiteY3" fmla="*/ 0 h 147065"/>
                  <a:gd name="connsiteX4" fmla="*/ 147066 w 147065"/>
                  <a:gd name="connsiteY4" fmla="*/ 73533 h 14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065" h="147065">
                    <a:moveTo>
                      <a:pt x="147066" y="73533"/>
                    </a:moveTo>
                    <a:cubicBezTo>
                      <a:pt x="147066" y="114144"/>
                      <a:pt x="114144" y="147066"/>
                      <a:pt x="73533" y="147066"/>
                    </a:cubicBezTo>
                    <a:cubicBezTo>
                      <a:pt x="32922" y="147066"/>
                      <a:pt x="0" y="114144"/>
                      <a:pt x="0" y="73533"/>
                    </a:cubicBezTo>
                    <a:cubicBezTo>
                      <a:pt x="0" y="32922"/>
                      <a:pt x="32922" y="0"/>
                      <a:pt x="73533" y="0"/>
                    </a:cubicBezTo>
                    <a:cubicBezTo>
                      <a:pt x="114144" y="0"/>
                      <a:pt x="147066" y="32922"/>
                      <a:pt x="147066" y="73533"/>
                    </a:cubicBezTo>
                    <a:close/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BED0DD72-AB60-F272-5105-ABBC43F11D6D}"/>
                  </a:ext>
                </a:extLst>
              </p:cNvPr>
              <p:cNvSpPr/>
              <p:nvPr/>
            </p:nvSpPr>
            <p:spPr>
              <a:xfrm>
                <a:off x="5586479" y="1908714"/>
                <a:ext cx="147066" cy="147065"/>
              </a:xfrm>
              <a:custGeom>
                <a:avLst/>
                <a:gdLst>
                  <a:gd name="connsiteX0" fmla="*/ 147066 w 147066"/>
                  <a:gd name="connsiteY0" fmla="*/ 73533 h 147065"/>
                  <a:gd name="connsiteX1" fmla="*/ 73533 w 147066"/>
                  <a:gd name="connsiteY1" fmla="*/ 147066 h 147065"/>
                  <a:gd name="connsiteX2" fmla="*/ 0 w 147066"/>
                  <a:gd name="connsiteY2" fmla="*/ 73533 h 147065"/>
                  <a:gd name="connsiteX3" fmla="*/ 73533 w 147066"/>
                  <a:gd name="connsiteY3" fmla="*/ 0 h 147065"/>
                  <a:gd name="connsiteX4" fmla="*/ 147066 w 147066"/>
                  <a:gd name="connsiteY4" fmla="*/ 73533 h 14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066" h="147065">
                    <a:moveTo>
                      <a:pt x="147066" y="73533"/>
                    </a:moveTo>
                    <a:cubicBezTo>
                      <a:pt x="147066" y="114144"/>
                      <a:pt x="114144" y="147066"/>
                      <a:pt x="73533" y="147066"/>
                    </a:cubicBezTo>
                    <a:cubicBezTo>
                      <a:pt x="32922" y="147066"/>
                      <a:pt x="0" y="114144"/>
                      <a:pt x="0" y="73533"/>
                    </a:cubicBezTo>
                    <a:cubicBezTo>
                      <a:pt x="0" y="32922"/>
                      <a:pt x="32922" y="0"/>
                      <a:pt x="73533" y="0"/>
                    </a:cubicBezTo>
                    <a:cubicBezTo>
                      <a:pt x="114144" y="0"/>
                      <a:pt x="147066" y="32922"/>
                      <a:pt x="147066" y="73533"/>
                    </a:cubicBezTo>
                    <a:close/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57DADE7E-E8C7-C2EB-0949-4FCFDD43F90C}"/>
                  </a:ext>
                </a:extLst>
              </p:cNvPr>
              <p:cNvSpPr/>
              <p:nvPr/>
            </p:nvSpPr>
            <p:spPr>
              <a:xfrm>
                <a:off x="5131756" y="1908714"/>
                <a:ext cx="147066" cy="147065"/>
              </a:xfrm>
              <a:custGeom>
                <a:avLst/>
                <a:gdLst>
                  <a:gd name="connsiteX0" fmla="*/ 147066 w 147066"/>
                  <a:gd name="connsiteY0" fmla="*/ 73533 h 147065"/>
                  <a:gd name="connsiteX1" fmla="*/ 73533 w 147066"/>
                  <a:gd name="connsiteY1" fmla="*/ 147066 h 147065"/>
                  <a:gd name="connsiteX2" fmla="*/ 0 w 147066"/>
                  <a:gd name="connsiteY2" fmla="*/ 73533 h 147065"/>
                  <a:gd name="connsiteX3" fmla="*/ 73533 w 147066"/>
                  <a:gd name="connsiteY3" fmla="*/ 0 h 147065"/>
                  <a:gd name="connsiteX4" fmla="*/ 147066 w 147066"/>
                  <a:gd name="connsiteY4" fmla="*/ 73533 h 14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066" h="147065">
                    <a:moveTo>
                      <a:pt x="147066" y="73533"/>
                    </a:moveTo>
                    <a:cubicBezTo>
                      <a:pt x="147066" y="114144"/>
                      <a:pt x="114144" y="147066"/>
                      <a:pt x="73533" y="147066"/>
                    </a:cubicBezTo>
                    <a:cubicBezTo>
                      <a:pt x="32922" y="147066"/>
                      <a:pt x="0" y="114144"/>
                      <a:pt x="0" y="73533"/>
                    </a:cubicBezTo>
                    <a:cubicBezTo>
                      <a:pt x="0" y="32922"/>
                      <a:pt x="32922" y="0"/>
                      <a:pt x="73533" y="0"/>
                    </a:cubicBezTo>
                    <a:cubicBezTo>
                      <a:pt x="114144" y="0"/>
                      <a:pt x="147066" y="32922"/>
                      <a:pt x="147066" y="73533"/>
                    </a:cubicBezTo>
                    <a:close/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520BC773-2485-C641-15F5-4A33B2F34830}"/>
                  </a:ext>
                </a:extLst>
              </p:cNvPr>
              <p:cNvSpPr/>
              <p:nvPr/>
            </p:nvSpPr>
            <p:spPr>
              <a:xfrm>
                <a:off x="5205289" y="1754886"/>
                <a:ext cx="454723" cy="153828"/>
              </a:xfrm>
              <a:custGeom>
                <a:avLst/>
                <a:gdLst>
                  <a:gd name="connsiteX0" fmla="*/ 0 w 454723"/>
                  <a:gd name="connsiteY0" fmla="*/ 153829 h 153828"/>
                  <a:gd name="connsiteX1" fmla="*/ 0 w 454723"/>
                  <a:gd name="connsiteY1" fmla="*/ 45529 h 153828"/>
                  <a:gd name="connsiteX2" fmla="*/ 45529 w 454723"/>
                  <a:gd name="connsiteY2" fmla="*/ 0 h 153828"/>
                  <a:gd name="connsiteX3" fmla="*/ 409194 w 454723"/>
                  <a:gd name="connsiteY3" fmla="*/ 0 h 153828"/>
                  <a:gd name="connsiteX4" fmla="*/ 454724 w 454723"/>
                  <a:gd name="connsiteY4" fmla="*/ 45529 h 153828"/>
                  <a:gd name="connsiteX5" fmla="*/ 454724 w 454723"/>
                  <a:gd name="connsiteY5" fmla="*/ 153829 h 153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723" h="153828">
                    <a:moveTo>
                      <a:pt x="0" y="153829"/>
                    </a:moveTo>
                    <a:lnTo>
                      <a:pt x="0" y="45529"/>
                    </a:lnTo>
                    <a:cubicBezTo>
                      <a:pt x="0" y="20383"/>
                      <a:pt x="20384" y="0"/>
                      <a:pt x="45529" y="0"/>
                    </a:cubicBezTo>
                    <a:lnTo>
                      <a:pt x="409194" y="0"/>
                    </a:lnTo>
                    <a:cubicBezTo>
                      <a:pt x="434340" y="0"/>
                      <a:pt x="454724" y="20383"/>
                      <a:pt x="454724" y="45529"/>
                    </a:cubicBezTo>
                    <a:lnTo>
                      <a:pt x="454724" y="153829"/>
                    </a:lnTo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5A8769A6-A671-C46D-D79C-3FFFCA7EA436}"/>
                  </a:ext>
                </a:extLst>
              </p:cNvPr>
              <p:cNvSpPr/>
              <p:nvPr/>
            </p:nvSpPr>
            <p:spPr>
              <a:xfrm>
                <a:off x="5433317" y="1600295"/>
                <a:ext cx="9525" cy="154590"/>
              </a:xfrm>
              <a:custGeom>
                <a:avLst/>
                <a:gdLst>
                  <a:gd name="connsiteX0" fmla="*/ 0 w 9525"/>
                  <a:gd name="connsiteY0" fmla="*/ 154591 h 154590"/>
                  <a:gd name="connsiteX1" fmla="*/ 0 w 9525"/>
                  <a:gd name="connsiteY1" fmla="*/ 0 h 154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4590">
                    <a:moveTo>
                      <a:pt x="0" y="154591"/>
                    </a:moveTo>
                    <a:lnTo>
                      <a:pt x="0" y="0"/>
                    </a:lnTo>
                  </a:path>
                </a:pathLst>
              </a:custGeom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B57AF29C-5CB8-DEA1-B874-06278AAC1771}"/>
              </a:ext>
            </a:extLst>
          </p:cNvPr>
          <p:cNvGrpSpPr>
            <a:grpSpLocks noChangeAspect="1"/>
          </p:cNvGrpSpPr>
          <p:nvPr/>
        </p:nvGrpSpPr>
        <p:grpSpPr>
          <a:xfrm>
            <a:off x="6876773" y="4792847"/>
            <a:ext cx="526270" cy="695537"/>
            <a:chOff x="7638733" y="5936921"/>
            <a:chExt cx="556308" cy="735237"/>
          </a:xfrm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4D857092-98FD-18B0-D187-BA4570C01CD6}"/>
                </a:ext>
              </a:extLst>
            </p:cNvPr>
            <p:cNvGrpSpPr/>
            <p:nvPr/>
          </p:nvGrpSpPr>
          <p:grpSpPr>
            <a:xfrm>
              <a:off x="7638733" y="5936921"/>
              <a:ext cx="344371" cy="695167"/>
              <a:chOff x="4060032" y="2865168"/>
              <a:chExt cx="354806" cy="716231"/>
            </a:xfrm>
          </p:grpSpPr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D9D62786-1AEE-5D27-8AEC-0F53528861F0}"/>
                  </a:ext>
                </a:extLst>
              </p:cNvPr>
              <p:cNvSpPr/>
              <p:nvPr/>
            </p:nvSpPr>
            <p:spPr>
              <a:xfrm>
                <a:off x="4060032" y="2865168"/>
                <a:ext cx="354806" cy="716231"/>
              </a:xfrm>
              <a:custGeom>
                <a:avLst/>
                <a:gdLst>
                  <a:gd name="connsiteX0" fmla="*/ 59136 w 354806"/>
                  <a:gd name="connsiteY0" fmla="*/ 0 h 698862"/>
                  <a:gd name="connsiteX1" fmla="*/ 295670 w 354806"/>
                  <a:gd name="connsiteY1" fmla="*/ 0 h 698862"/>
                  <a:gd name="connsiteX2" fmla="*/ 354806 w 354806"/>
                  <a:gd name="connsiteY2" fmla="*/ 59136 h 698862"/>
                  <a:gd name="connsiteX3" fmla="*/ 354806 w 354806"/>
                  <a:gd name="connsiteY3" fmla="*/ 692813 h 698862"/>
                  <a:gd name="connsiteX4" fmla="*/ 353585 w 354806"/>
                  <a:gd name="connsiteY4" fmla="*/ 698862 h 698862"/>
                  <a:gd name="connsiteX5" fmla="*/ 1221 w 354806"/>
                  <a:gd name="connsiteY5" fmla="*/ 698862 h 698862"/>
                  <a:gd name="connsiteX6" fmla="*/ 0 w 354806"/>
                  <a:gd name="connsiteY6" fmla="*/ 692813 h 698862"/>
                  <a:gd name="connsiteX7" fmla="*/ 0 w 354806"/>
                  <a:gd name="connsiteY7" fmla="*/ 59136 h 698862"/>
                  <a:gd name="connsiteX8" fmla="*/ 59136 w 354806"/>
                  <a:gd name="connsiteY8" fmla="*/ 0 h 698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4806" h="698862">
                    <a:moveTo>
                      <a:pt x="59136" y="0"/>
                    </a:moveTo>
                    <a:lnTo>
                      <a:pt x="295670" y="0"/>
                    </a:lnTo>
                    <a:cubicBezTo>
                      <a:pt x="328330" y="0"/>
                      <a:pt x="354806" y="26476"/>
                      <a:pt x="354806" y="59136"/>
                    </a:cubicBezTo>
                    <a:lnTo>
                      <a:pt x="354806" y="692813"/>
                    </a:lnTo>
                    <a:lnTo>
                      <a:pt x="353585" y="698862"/>
                    </a:lnTo>
                    <a:lnTo>
                      <a:pt x="1221" y="698862"/>
                    </a:lnTo>
                    <a:lnTo>
                      <a:pt x="0" y="692813"/>
                    </a:lnTo>
                    <a:lnTo>
                      <a:pt x="0" y="59136"/>
                    </a:lnTo>
                    <a:cubicBezTo>
                      <a:pt x="0" y="26476"/>
                      <a:pt x="26476" y="0"/>
                      <a:pt x="59136" y="0"/>
                    </a:cubicBezTo>
                    <a:close/>
                  </a:path>
                </a:pathLst>
              </a:custGeom>
              <a:noFill/>
              <a:ln w="6350">
                <a:solidFill>
                  <a:srgbClr val="00338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4610" tIns="54610" rIns="54610" bIns="54610" rtlCol="0" anchor="ctr">
                <a:noAutofit/>
              </a:bodyPr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9215EF47-A528-13D3-35A7-52A77163A447}"/>
                  </a:ext>
                </a:extLst>
              </p:cNvPr>
              <p:cNvSpPr/>
              <p:nvPr/>
            </p:nvSpPr>
            <p:spPr>
              <a:xfrm>
                <a:off x="4109419" y="2969662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FAF2E0FC-CB84-2B8E-D77A-2ACBEAFFBA27}"/>
                  </a:ext>
                </a:extLst>
              </p:cNvPr>
              <p:cNvSpPr/>
              <p:nvPr/>
            </p:nvSpPr>
            <p:spPr>
              <a:xfrm>
                <a:off x="4109419" y="3407792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4C55E71A-20C7-4023-7767-98746FC43A85}"/>
                  </a:ext>
                </a:extLst>
              </p:cNvPr>
              <p:cNvSpPr/>
              <p:nvPr/>
            </p:nvSpPr>
            <p:spPr>
              <a:xfrm>
                <a:off x="4109419" y="3471018"/>
                <a:ext cx="256032" cy="36576"/>
              </a:xfrm>
              <a:prstGeom prst="rect">
                <a:avLst/>
              </a:prstGeom>
              <a:noFill/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1678D67-2374-2C1C-EDB6-1C9C64A952C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56852" y="6333970"/>
              <a:ext cx="338189" cy="338188"/>
              <a:chOff x="1281815" y="2381091"/>
              <a:chExt cx="599123" cy="599122"/>
            </a:xfrm>
            <a:solidFill>
              <a:schemeClr val="bg1"/>
            </a:solidFill>
          </p:grpSpPr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D61B8C76-ACBE-6375-A511-52E3A80BF917}"/>
                  </a:ext>
                </a:extLst>
              </p:cNvPr>
              <p:cNvSpPr/>
              <p:nvPr/>
            </p:nvSpPr>
            <p:spPr>
              <a:xfrm>
                <a:off x="1281815" y="2381091"/>
                <a:ext cx="599122" cy="599122"/>
              </a:xfrm>
              <a:custGeom>
                <a:avLst/>
                <a:gdLst>
                  <a:gd name="connsiteX0" fmla="*/ 599123 w 599122"/>
                  <a:gd name="connsiteY0" fmla="*/ 299561 h 599122"/>
                  <a:gd name="connsiteX1" fmla="*/ 299561 w 599122"/>
                  <a:gd name="connsiteY1" fmla="*/ 599123 h 599122"/>
                  <a:gd name="connsiteX2" fmla="*/ 0 w 599122"/>
                  <a:gd name="connsiteY2" fmla="*/ 299561 h 599122"/>
                  <a:gd name="connsiteX3" fmla="*/ 299561 w 599122"/>
                  <a:gd name="connsiteY3" fmla="*/ 0 h 599122"/>
                  <a:gd name="connsiteX4" fmla="*/ 599123 w 599122"/>
                  <a:gd name="connsiteY4" fmla="*/ 299561 h 599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122" h="599122">
                    <a:moveTo>
                      <a:pt x="599123" y="299561"/>
                    </a:moveTo>
                    <a:cubicBezTo>
                      <a:pt x="599123" y="465004"/>
                      <a:pt x="465004" y="599123"/>
                      <a:pt x="299561" y="599123"/>
                    </a:cubicBezTo>
                    <a:cubicBezTo>
                      <a:pt x="134118" y="599123"/>
                      <a:pt x="0" y="465004"/>
                      <a:pt x="0" y="299561"/>
                    </a:cubicBezTo>
                    <a:cubicBezTo>
                      <a:pt x="0" y="134118"/>
                      <a:pt x="134118" y="0"/>
                      <a:pt x="299561" y="0"/>
                    </a:cubicBezTo>
                    <a:cubicBezTo>
                      <a:pt x="465004" y="0"/>
                      <a:pt x="599123" y="134118"/>
                      <a:pt x="599123" y="299561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6D3BD103-A407-CE0B-2B06-3B2EF319353D}"/>
                  </a:ext>
                </a:extLst>
              </p:cNvPr>
              <p:cNvSpPr/>
              <p:nvPr/>
            </p:nvSpPr>
            <p:spPr>
              <a:xfrm>
                <a:off x="1593949" y="2382519"/>
                <a:ext cx="99917" cy="588359"/>
              </a:xfrm>
              <a:custGeom>
                <a:avLst/>
                <a:gdLst>
                  <a:gd name="connsiteX0" fmla="*/ 0 w 99917"/>
                  <a:gd name="connsiteY0" fmla="*/ 0 h 588359"/>
                  <a:gd name="connsiteX1" fmla="*/ 99917 w 99917"/>
                  <a:gd name="connsiteY1" fmla="*/ 299942 h 588359"/>
                  <a:gd name="connsiteX2" fmla="*/ 9716 w 99917"/>
                  <a:gd name="connsiteY2" fmla="*/ 588359 h 58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917" h="588359">
                    <a:moveTo>
                      <a:pt x="0" y="0"/>
                    </a:moveTo>
                    <a:cubicBezTo>
                      <a:pt x="60674" y="68485"/>
                      <a:pt x="99917" y="177356"/>
                      <a:pt x="99917" y="299942"/>
                    </a:cubicBezTo>
                    <a:cubicBezTo>
                      <a:pt x="99917" y="415862"/>
                      <a:pt x="64865" y="519494"/>
                      <a:pt x="9716" y="588359"/>
                    </a:cubicBezTo>
                  </a:path>
                </a:pathLst>
              </a:custGeom>
              <a:grpFill/>
              <a:ln w="6350" cap="rnd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E75821DF-39DE-6AE5-557D-D1DC703458C5}"/>
                  </a:ext>
                </a:extLst>
              </p:cNvPr>
              <p:cNvSpPr/>
              <p:nvPr/>
            </p:nvSpPr>
            <p:spPr>
              <a:xfrm>
                <a:off x="1462600" y="2382519"/>
                <a:ext cx="99917" cy="588359"/>
              </a:xfrm>
              <a:custGeom>
                <a:avLst/>
                <a:gdLst>
                  <a:gd name="connsiteX0" fmla="*/ 99917 w 99917"/>
                  <a:gd name="connsiteY0" fmla="*/ 0 h 588359"/>
                  <a:gd name="connsiteX1" fmla="*/ 0 w 99917"/>
                  <a:gd name="connsiteY1" fmla="*/ 299942 h 588359"/>
                  <a:gd name="connsiteX2" fmla="*/ 90202 w 99917"/>
                  <a:gd name="connsiteY2" fmla="*/ 588359 h 58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917" h="588359">
                    <a:moveTo>
                      <a:pt x="99917" y="0"/>
                    </a:moveTo>
                    <a:cubicBezTo>
                      <a:pt x="39243" y="68485"/>
                      <a:pt x="0" y="177356"/>
                      <a:pt x="0" y="299942"/>
                    </a:cubicBezTo>
                    <a:cubicBezTo>
                      <a:pt x="0" y="415862"/>
                      <a:pt x="35052" y="519494"/>
                      <a:pt x="90202" y="588359"/>
                    </a:cubicBezTo>
                  </a:path>
                </a:pathLst>
              </a:custGeom>
              <a:grpFill/>
              <a:ln w="6350" cap="rnd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A28CF847-ED40-219D-D0DF-E749E1AB8D7D}"/>
                  </a:ext>
                </a:extLst>
              </p:cNvPr>
              <p:cNvSpPr/>
              <p:nvPr/>
            </p:nvSpPr>
            <p:spPr>
              <a:xfrm>
                <a:off x="1286864" y="2680652"/>
                <a:ext cx="594074" cy="9525"/>
              </a:xfrm>
              <a:custGeom>
                <a:avLst/>
                <a:gdLst>
                  <a:gd name="connsiteX0" fmla="*/ 0 w 594074"/>
                  <a:gd name="connsiteY0" fmla="*/ 0 h 9525"/>
                  <a:gd name="connsiteX1" fmla="*/ 594074 w 59407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4074" h="9525">
                    <a:moveTo>
                      <a:pt x="0" y="0"/>
                    </a:moveTo>
                    <a:lnTo>
                      <a:pt x="594074" y="0"/>
                    </a:lnTo>
                  </a:path>
                </a:pathLst>
              </a:custGeom>
              <a:grp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42" name="Arrow: Down 141">
            <a:extLst>
              <a:ext uri="{FF2B5EF4-FFF2-40B4-BE49-F238E27FC236}">
                <a16:creationId xmlns:a16="http://schemas.microsoft.com/office/drawing/2014/main" id="{03645F95-FBF1-3ADD-FA52-268B9F313067}"/>
              </a:ext>
            </a:extLst>
          </p:cNvPr>
          <p:cNvSpPr/>
          <p:nvPr/>
        </p:nvSpPr>
        <p:spPr>
          <a:xfrm rot="5400000">
            <a:off x="5702701" y="4186097"/>
            <a:ext cx="169368" cy="1950729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143" name="Arrow: Down 142">
            <a:extLst>
              <a:ext uri="{FF2B5EF4-FFF2-40B4-BE49-F238E27FC236}">
                <a16:creationId xmlns:a16="http://schemas.microsoft.com/office/drawing/2014/main" id="{3F3EB198-8F5E-F6E5-8232-58F46514C09B}"/>
              </a:ext>
            </a:extLst>
          </p:cNvPr>
          <p:cNvSpPr/>
          <p:nvPr/>
        </p:nvSpPr>
        <p:spPr>
          <a:xfrm rot="5400000">
            <a:off x="8221483" y="4609296"/>
            <a:ext cx="169368" cy="118153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tx1"/>
              </a:solidFill>
            </a:endParaRP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415BB052-E73F-BD73-3AF6-390AF79675E3}"/>
              </a:ext>
            </a:extLst>
          </p:cNvPr>
          <p:cNvGrpSpPr>
            <a:grpSpLocks noChangeAspect="1"/>
          </p:cNvGrpSpPr>
          <p:nvPr/>
        </p:nvGrpSpPr>
        <p:grpSpPr>
          <a:xfrm>
            <a:off x="8331058" y="3263539"/>
            <a:ext cx="213368" cy="165325"/>
            <a:chOff x="10436628" y="1511517"/>
            <a:chExt cx="608762" cy="47169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5DFA5908-F3A5-7651-94F6-2EE1F3235E56}"/>
                </a:ext>
              </a:extLst>
            </p:cNvPr>
            <p:cNvSpPr/>
            <p:nvPr/>
          </p:nvSpPr>
          <p:spPr>
            <a:xfrm>
              <a:off x="10827257" y="1617630"/>
              <a:ext cx="112013" cy="112014"/>
            </a:xfrm>
            <a:custGeom>
              <a:avLst/>
              <a:gdLst>
                <a:gd name="connsiteX0" fmla="*/ 112014 w 112013"/>
                <a:gd name="connsiteY0" fmla="*/ 56007 h 112014"/>
                <a:gd name="connsiteX1" fmla="*/ 56007 w 112013"/>
                <a:gd name="connsiteY1" fmla="*/ 112014 h 112014"/>
                <a:gd name="connsiteX2" fmla="*/ 0 w 112013"/>
                <a:gd name="connsiteY2" fmla="*/ 56007 h 112014"/>
                <a:gd name="connsiteX3" fmla="*/ 56007 w 112013"/>
                <a:gd name="connsiteY3" fmla="*/ 0 h 112014"/>
                <a:gd name="connsiteX4" fmla="*/ 112014 w 112013"/>
                <a:gd name="connsiteY4" fmla="*/ 56007 h 112014"/>
                <a:gd name="connsiteX5" fmla="*/ 112014 w 112013"/>
                <a:gd name="connsiteY5" fmla="*/ 56007 h 112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013" h="112014">
                  <a:moveTo>
                    <a:pt x="112014" y="56007"/>
                  </a:moveTo>
                  <a:cubicBezTo>
                    <a:pt x="112014" y="86963"/>
                    <a:pt x="86963" y="112014"/>
                    <a:pt x="56007" y="112014"/>
                  </a:cubicBezTo>
                  <a:cubicBezTo>
                    <a:pt x="25051" y="112014"/>
                    <a:pt x="0" y="86963"/>
                    <a:pt x="0" y="56007"/>
                  </a:cubicBezTo>
                  <a:cubicBezTo>
                    <a:pt x="0" y="25051"/>
                    <a:pt x="25051" y="0"/>
                    <a:pt x="56007" y="0"/>
                  </a:cubicBezTo>
                  <a:cubicBezTo>
                    <a:pt x="86963" y="0"/>
                    <a:pt x="112014" y="25051"/>
                    <a:pt x="112014" y="56007"/>
                  </a:cubicBezTo>
                  <a:lnTo>
                    <a:pt x="112014" y="56007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74618960-5C10-F2A1-D0B4-96F49ED3CB48}"/>
                </a:ext>
              </a:extLst>
            </p:cNvPr>
            <p:cNvSpPr/>
            <p:nvPr/>
          </p:nvSpPr>
          <p:spPr>
            <a:xfrm>
              <a:off x="10562462" y="1712023"/>
              <a:ext cx="145160" cy="145160"/>
            </a:xfrm>
            <a:custGeom>
              <a:avLst/>
              <a:gdLst>
                <a:gd name="connsiteX0" fmla="*/ 145161 w 145160"/>
                <a:gd name="connsiteY0" fmla="*/ 72580 h 145160"/>
                <a:gd name="connsiteX1" fmla="*/ 72581 w 145160"/>
                <a:gd name="connsiteY1" fmla="*/ 145161 h 145160"/>
                <a:gd name="connsiteX2" fmla="*/ 0 w 145160"/>
                <a:gd name="connsiteY2" fmla="*/ 72580 h 145160"/>
                <a:gd name="connsiteX3" fmla="*/ 72581 w 145160"/>
                <a:gd name="connsiteY3" fmla="*/ 0 h 145160"/>
                <a:gd name="connsiteX4" fmla="*/ 145161 w 145160"/>
                <a:gd name="connsiteY4" fmla="*/ 72580 h 145160"/>
                <a:gd name="connsiteX5" fmla="*/ 145161 w 145160"/>
                <a:gd name="connsiteY5" fmla="*/ 72580 h 145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160" h="145160">
                  <a:moveTo>
                    <a:pt x="145161" y="72580"/>
                  </a:moveTo>
                  <a:cubicBezTo>
                    <a:pt x="145161" y="112681"/>
                    <a:pt x="112681" y="145161"/>
                    <a:pt x="72581" y="145161"/>
                  </a:cubicBezTo>
                  <a:cubicBezTo>
                    <a:pt x="32480" y="145161"/>
                    <a:pt x="0" y="112681"/>
                    <a:pt x="0" y="72580"/>
                  </a:cubicBezTo>
                  <a:cubicBezTo>
                    <a:pt x="0" y="32480"/>
                    <a:pt x="32480" y="0"/>
                    <a:pt x="72581" y="0"/>
                  </a:cubicBezTo>
                  <a:cubicBezTo>
                    <a:pt x="112681" y="0"/>
                    <a:pt x="145161" y="32480"/>
                    <a:pt x="145161" y="72580"/>
                  </a:cubicBezTo>
                  <a:lnTo>
                    <a:pt x="145161" y="72580"/>
                  </a:ln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1893FA3D-C315-DE5F-BB80-46B00541CE08}"/>
                </a:ext>
              </a:extLst>
            </p:cNvPr>
            <p:cNvSpPr/>
            <p:nvPr/>
          </p:nvSpPr>
          <p:spPr>
            <a:xfrm>
              <a:off x="10436628" y="1585998"/>
              <a:ext cx="362849" cy="397210"/>
            </a:xfrm>
            <a:custGeom>
              <a:avLst/>
              <a:gdLst>
                <a:gd name="connsiteX0" fmla="*/ 240420 w 362849"/>
                <a:gd name="connsiteY0" fmla="*/ 15725 h 397210"/>
                <a:gd name="connsiteX1" fmla="*/ 225275 w 362849"/>
                <a:gd name="connsiteY1" fmla="*/ 1819 h 397210"/>
                <a:gd name="connsiteX2" fmla="*/ 171840 w 362849"/>
                <a:gd name="connsiteY2" fmla="*/ 9 h 397210"/>
                <a:gd name="connsiteX3" fmla="*/ 155552 w 362849"/>
                <a:gd name="connsiteY3" fmla="*/ 14678 h 397210"/>
                <a:gd name="connsiteX4" fmla="*/ 153933 w 362849"/>
                <a:gd name="connsiteY4" fmla="*/ 37538 h 397210"/>
                <a:gd name="connsiteX5" fmla="*/ 142979 w 362849"/>
                <a:gd name="connsiteY5" fmla="*/ 52206 h 397210"/>
                <a:gd name="connsiteX6" fmla="*/ 134121 w 362849"/>
                <a:gd name="connsiteY6" fmla="*/ 55921 h 397210"/>
                <a:gd name="connsiteX7" fmla="*/ 116690 w 362849"/>
                <a:gd name="connsiteY7" fmla="*/ 53730 h 397210"/>
                <a:gd name="connsiteX8" fmla="*/ 98879 w 362849"/>
                <a:gd name="connsiteY8" fmla="*/ 39728 h 397210"/>
                <a:gd name="connsiteX9" fmla="*/ 78400 w 362849"/>
                <a:gd name="connsiteY9" fmla="*/ 40586 h 397210"/>
                <a:gd name="connsiteX10" fmla="*/ 39252 w 362849"/>
                <a:gd name="connsiteY10" fmla="*/ 77066 h 397210"/>
                <a:gd name="connsiteX11" fmla="*/ 38109 w 362849"/>
                <a:gd name="connsiteY11" fmla="*/ 98974 h 397210"/>
                <a:gd name="connsiteX12" fmla="*/ 53063 w 362849"/>
                <a:gd name="connsiteY12" fmla="*/ 116309 h 397210"/>
                <a:gd name="connsiteX13" fmla="*/ 55730 w 362849"/>
                <a:gd name="connsiteY13" fmla="*/ 134407 h 397210"/>
                <a:gd name="connsiteX14" fmla="*/ 52016 w 362849"/>
                <a:gd name="connsiteY14" fmla="*/ 143360 h 397210"/>
                <a:gd name="connsiteX15" fmla="*/ 38204 w 362849"/>
                <a:gd name="connsiteY15" fmla="*/ 154124 h 397210"/>
                <a:gd name="connsiteX16" fmla="*/ 15725 w 362849"/>
                <a:gd name="connsiteY16" fmla="*/ 156791 h 397210"/>
                <a:gd name="connsiteX17" fmla="*/ 1819 w 362849"/>
                <a:gd name="connsiteY17" fmla="*/ 171935 h 397210"/>
                <a:gd name="connsiteX18" fmla="*/ 9 w 362849"/>
                <a:gd name="connsiteY18" fmla="*/ 225371 h 397210"/>
                <a:gd name="connsiteX19" fmla="*/ 14678 w 362849"/>
                <a:gd name="connsiteY19" fmla="*/ 241658 h 397210"/>
                <a:gd name="connsiteX20" fmla="*/ 37538 w 362849"/>
                <a:gd name="connsiteY20" fmla="*/ 243278 h 397210"/>
                <a:gd name="connsiteX21" fmla="*/ 52206 w 362849"/>
                <a:gd name="connsiteY21" fmla="*/ 254136 h 397210"/>
                <a:gd name="connsiteX22" fmla="*/ 55826 w 362849"/>
                <a:gd name="connsiteY22" fmla="*/ 262994 h 397210"/>
                <a:gd name="connsiteX23" fmla="*/ 53730 w 362849"/>
                <a:gd name="connsiteY23" fmla="*/ 280425 h 397210"/>
                <a:gd name="connsiteX24" fmla="*/ 39728 w 362849"/>
                <a:gd name="connsiteY24" fmla="*/ 298237 h 397210"/>
                <a:gd name="connsiteX25" fmla="*/ 40586 w 362849"/>
                <a:gd name="connsiteY25" fmla="*/ 318811 h 397210"/>
                <a:gd name="connsiteX26" fmla="*/ 77066 w 362849"/>
                <a:gd name="connsiteY26" fmla="*/ 357959 h 397210"/>
                <a:gd name="connsiteX27" fmla="*/ 98974 w 362849"/>
                <a:gd name="connsiteY27" fmla="*/ 359102 h 397210"/>
                <a:gd name="connsiteX28" fmla="*/ 116309 w 362849"/>
                <a:gd name="connsiteY28" fmla="*/ 344147 h 397210"/>
                <a:gd name="connsiteX29" fmla="*/ 134407 w 362849"/>
                <a:gd name="connsiteY29" fmla="*/ 341480 h 397210"/>
                <a:gd name="connsiteX30" fmla="*/ 143265 w 362849"/>
                <a:gd name="connsiteY30" fmla="*/ 345195 h 397210"/>
                <a:gd name="connsiteX31" fmla="*/ 154028 w 362849"/>
                <a:gd name="connsiteY31" fmla="*/ 359006 h 397210"/>
                <a:gd name="connsiteX32" fmla="*/ 156695 w 362849"/>
                <a:gd name="connsiteY32" fmla="*/ 381485 h 397210"/>
                <a:gd name="connsiteX33" fmla="*/ 171840 w 362849"/>
                <a:gd name="connsiteY33" fmla="*/ 395392 h 397210"/>
                <a:gd name="connsiteX34" fmla="*/ 225275 w 362849"/>
                <a:gd name="connsiteY34" fmla="*/ 397202 h 397210"/>
                <a:gd name="connsiteX35" fmla="*/ 241563 w 362849"/>
                <a:gd name="connsiteY35" fmla="*/ 382533 h 397210"/>
                <a:gd name="connsiteX36" fmla="*/ 243182 w 362849"/>
                <a:gd name="connsiteY36" fmla="*/ 359673 h 397210"/>
                <a:gd name="connsiteX37" fmla="*/ 254136 w 362849"/>
                <a:gd name="connsiteY37" fmla="*/ 345005 h 397210"/>
                <a:gd name="connsiteX38" fmla="*/ 262994 w 362849"/>
                <a:gd name="connsiteY38" fmla="*/ 341290 h 397210"/>
                <a:gd name="connsiteX39" fmla="*/ 280425 w 362849"/>
                <a:gd name="connsiteY39" fmla="*/ 343481 h 397210"/>
                <a:gd name="connsiteX40" fmla="*/ 298237 w 362849"/>
                <a:gd name="connsiteY40" fmla="*/ 357482 h 397210"/>
                <a:gd name="connsiteX41" fmla="*/ 318716 w 362849"/>
                <a:gd name="connsiteY41" fmla="*/ 356625 h 397210"/>
                <a:gd name="connsiteX42" fmla="*/ 357863 w 362849"/>
                <a:gd name="connsiteY42" fmla="*/ 320144 h 397210"/>
                <a:gd name="connsiteX43" fmla="*/ 359006 w 362849"/>
                <a:gd name="connsiteY43" fmla="*/ 298237 h 39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62849" h="397210">
                  <a:moveTo>
                    <a:pt x="240420" y="15725"/>
                  </a:moveTo>
                  <a:cubicBezTo>
                    <a:pt x="239468" y="8010"/>
                    <a:pt x="233086" y="2105"/>
                    <a:pt x="225275" y="1819"/>
                  </a:cubicBezTo>
                  <a:lnTo>
                    <a:pt x="171840" y="9"/>
                  </a:lnTo>
                  <a:cubicBezTo>
                    <a:pt x="163363" y="-277"/>
                    <a:pt x="156219" y="6200"/>
                    <a:pt x="155552" y="14678"/>
                  </a:cubicBezTo>
                  <a:lnTo>
                    <a:pt x="153933" y="37538"/>
                  </a:lnTo>
                  <a:cubicBezTo>
                    <a:pt x="153457" y="44110"/>
                    <a:pt x="149171" y="49825"/>
                    <a:pt x="142979" y="52206"/>
                  </a:cubicBezTo>
                  <a:cubicBezTo>
                    <a:pt x="140027" y="53349"/>
                    <a:pt x="136979" y="54587"/>
                    <a:pt x="134121" y="55921"/>
                  </a:cubicBezTo>
                  <a:cubicBezTo>
                    <a:pt x="128406" y="58493"/>
                    <a:pt x="121643" y="57635"/>
                    <a:pt x="116690" y="53730"/>
                  </a:cubicBezTo>
                  <a:lnTo>
                    <a:pt x="98879" y="39728"/>
                  </a:lnTo>
                  <a:cubicBezTo>
                    <a:pt x="92783" y="34871"/>
                    <a:pt x="84020" y="35252"/>
                    <a:pt x="78400" y="40586"/>
                  </a:cubicBezTo>
                  <a:lnTo>
                    <a:pt x="39252" y="77066"/>
                  </a:lnTo>
                  <a:cubicBezTo>
                    <a:pt x="33061" y="82877"/>
                    <a:pt x="32585" y="92497"/>
                    <a:pt x="38109" y="98974"/>
                  </a:cubicBezTo>
                  <a:lnTo>
                    <a:pt x="53063" y="116309"/>
                  </a:lnTo>
                  <a:cubicBezTo>
                    <a:pt x="57445" y="121358"/>
                    <a:pt x="58397" y="128406"/>
                    <a:pt x="55730" y="134407"/>
                  </a:cubicBezTo>
                  <a:cubicBezTo>
                    <a:pt x="54397" y="137360"/>
                    <a:pt x="53159" y="140312"/>
                    <a:pt x="52016" y="143360"/>
                  </a:cubicBezTo>
                  <a:cubicBezTo>
                    <a:pt x="49730" y="149266"/>
                    <a:pt x="44396" y="153362"/>
                    <a:pt x="38204" y="154124"/>
                  </a:cubicBezTo>
                  <a:lnTo>
                    <a:pt x="15725" y="156791"/>
                  </a:lnTo>
                  <a:cubicBezTo>
                    <a:pt x="8010" y="157743"/>
                    <a:pt x="2105" y="164125"/>
                    <a:pt x="1819" y="171935"/>
                  </a:cubicBezTo>
                  <a:lnTo>
                    <a:pt x="9" y="225371"/>
                  </a:lnTo>
                  <a:cubicBezTo>
                    <a:pt x="-277" y="233848"/>
                    <a:pt x="6200" y="241087"/>
                    <a:pt x="14678" y="241658"/>
                  </a:cubicBezTo>
                  <a:lnTo>
                    <a:pt x="37538" y="243278"/>
                  </a:lnTo>
                  <a:cubicBezTo>
                    <a:pt x="44110" y="243754"/>
                    <a:pt x="49825" y="248040"/>
                    <a:pt x="52206" y="254136"/>
                  </a:cubicBezTo>
                  <a:cubicBezTo>
                    <a:pt x="53349" y="257184"/>
                    <a:pt x="54587" y="260137"/>
                    <a:pt x="55826" y="262994"/>
                  </a:cubicBezTo>
                  <a:cubicBezTo>
                    <a:pt x="58397" y="268709"/>
                    <a:pt x="57635" y="275472"/>
                    <a:pt x="53730" y="280425"/>
                  </a:cubicBezTo>
                  <a:lnTo>
                    <a:pt x="39728" y="298237"/>
                  </a:lnTo>
                  <a:cubicBezTo>
                    <a:pt x="34966" y="304333"/>
                    <a:pt x="35252" y="313096"/>
                    <a:pt x="40586" y="318811"/>
                  </a:cubicBezTo>
                  <a:lnTo>
                    <a:pt x="77066" y="357959"/>
                  </a:lnTo>
                  <a:cubicBezTo>
                    <a:pt x="82877" y="364150"/>
                    <a:pt x="92497" y="364626"/>
                    <a:pt x="98974" y="359102"/>
                  </a:cubicBezTo>
                  <a:lnTo>
                    <a:pt x="116309" y="344147"/>
                  </a:lnTo>
                  <a:cubicBezTo>
                    <a:pt x="121358" y="339766"/>
                    <a:pt x="128406" y="338813"/>
                    <a:pt x="134407" y="341480"/>
                  </a:cubicBezTo>
                  <a:cubicBezTo>
                    <a:pt x="137360" y="342814"/>
                    <a:pt x="140312" y="344052"/>
                    <a:pt x="143265" y="345195"/>
                  </a:cubicBezTo>
                  <a:cubicBezTo>
                    <a:pt x="149171" y="347386"/>
                    <a:pt x="153266" y="352720"/>
                    <a:pt x="154028" y="359006"/>
                  </a:cubicBezTo>
                  <a:lnTo>
                    <a:pt x="156695" y="381485"/>
                  </a:lnTo>
                  <a:cubicBezTo>
                    <a:pt x="157648" y="389201"/>
                    <a:pt x="164030" y="395106"/>
                    <a:pt x="171840" y="395392"/>
                  </a:cubicBezTo>
                  <a:lnTo>
                    <a:pt x="225275" y="397202"/>
                  </a:lnTo>
                  <a:cubicBezTo>
                    <a:pt x="233753" y="397487"/>
                    <a:pt x="240896" y="391010"/>
                    <a:pt x="241563" y="382533"/>
                  </a:cubicBezTo>
                  <a:lnTo>
                    <a:pt x="243182" y="359673"/>
                  </a:lnTo>
                  <a:cubicBezTo>
                    <a:pt x="243659" y="353101"/>
                    <a:pt x="247945" y="347386"/>
                    <a:pt x="254136" y="345005"/>
                  </a:cubicBezTo>
                  <a:cubicBezTo>
                    <a:pt x="257089" y="343862"/>
                    <a:pt x="260137" y="342623"/>
                    <a:pt x="262994" y="341290"/>
                  </a:cubicBezTo>
                  <a:cubicBezTo>
                    <a:pt x="268709" y="338718"/>
                    <a:pt x="275472" y="339575"/>
                    <a:pt x="280425" y="343481"/>
                  </a:cubicBezTo>
                  <a:lnTo>
                    <a:pt x="298237" y="357482"/>
                  </a:lnTo>
                  <a:cubicBezTo>
                    <a:pt x="304333" y="362340"/>
                    <a:pt x="313096" y="361959"/>
                    <a:pt x="318716" y="356625"/>
                  </a:cubicBezTo>
                  <a:lnTo>
                    <a:pt x="357863" y="320144"/>
                  </a:lnTo>
                  <a:cubicBezTo>
                    <a:pt x="364055" y="314334"/>
                    <a:pt x="364531" y="304714"/>
                    <a:pt x="359006" y="298237"/>
                  </a:cubicBez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CD2B601-3216-8FF1-AADA-7C9F0753AD04}"/>
                </a:ext>
              </a:extLst>
            </p:cNvPr>
            <p:cNvSpPr/>
            <p:nvPr/>
          </p:nvSpPr>
          <p:spPr>
            <a:xfrm>
              <a:off x="10720947" y="1511517"/>
              <a:ext cx="324443" cy="324437"/>
            </a:xfrm>
            <a:custGeom>
              <a:avLst/>
              <a:gdLst>
                <a:gd name="connsiteX0" fmla="*/ 312621 w 324443"/>
                <a:gd name="connsiteY0" fmla="*/ 127069 h 324437"/>
                <a:gd name="connsiteX1" fmla="*/ 293952 w 324443"/>
                <a:gd name="connsiteY1" fmla="*/ 125735 h 324437"/>
                <a:gd name="connsiteX2" fmla="*/ 281951 w 324443"/>
                <a:gd name="connsiteY2" fmla="*/ 116877 h 324437"/>
                <a:gd name="connsiteX3" fmla="*/ 278903 w 324443"/>
                <a:gd name="connsiteY3" fmla="*/ 109638 h 324437"/>
                <a:gd name="connsiteX4" fmla="*/ 280617 w 324443"/>
                <a:gd name="connsiteY4" fmla="*/ 95446 h 324437"/>
                <a:gd name="connsiteX5" fmla="*/ 292047 w 324443"/>
                <a:gd name="connsiteY5" fmla="*/ 80872 h 324437"/>
                <a:gd name="connsiteX6" fmla="*/ 291381 w 324443"/>
                <a:gd name="connsiteY6" fmla="*/ 64108 h 324437"/>
                <a:gd name="connsiteX7" fmla="*/ 261567 w 324443"/>
                <a:gd name="connsiteY7" fmla="*/ 32200 h 324437"/>
                <a:gd name="connsiteX8" fmla="*/ 243660 w 324443"/>
                <a:gd name="connsiteY8" fmla="*/ 31247 h 324437"/>
                <a:gd name="connsiteX9" fmla="*/ 229563 w 324443"/>
                <a:gd name="connsiteY9" fmla="*/ 43439 h 324437"/>
                <a:gd name="connsiteX10" fmla="*/ 214800 w 324443"/>
                <a:gd name="connsiteY10" fmla="*/ 45630 h 324437"/>
                <a:gd name="connsiteX11" fmla="*/ 207561 w 324443"/>
                <a:gd name="connsiteY11" fmla="*/ 42582 h 324437"/>
                <a:gd name="connsiteX12" fmla="*/ 198798 w 324443"/>
                <a:gd name="connsiteY12" fmla="*/ 31247 h 324437"/>
                <a:gd name="connsiteX13" fmla="*/ 196607 w 324443"/>
                <a:gd name="connsiteY13" fmla="*/ 12864 h 324437"/>
                <a:gd name="connsiteX14" fmla="*/ 184224 w 324443"/>
                <a:gd name="connsiteY14" fmla="*/ 1529 h 324437"/>
                <a:gd name="connsiteX15" fmla="*/ 140505 w 324443"/>
                <a:gd name="connsiteY15" fmla="*/ 5 h 324437"/>
                <a:gd name="connsiteX16" fmla="*/ 127170 w 324443"/>
                <a:gd name="connsiteY16" fmla="*/ 12007 h 324437"/>
                <a:gd name="connsiteX17" fmla="*/ 125836 w 324443"/>
                <a:gd name="connsiteY17" fmla="*/ 30676 h 324437"/>
                <a:gd name="connsiteX18" fmla="*/ 116883 w 324443"/>
                <a:gd name="connsiteY18" fmla="*/ 42582 h 324437"/>
                <a:gd name="connsiteX19" fmla="*/ 109644 w 324443"/>
                <a:gd name="connsiteY19" fmla="*/ 45630 h 324437"/>
                <a:gd name="connsiteX20" fmla="*/ 95451 w 324443"/>
                <a:gd name="connsiteY20" fmla="*/ 43915 h 324437"/>
                <a:gd name="connsiteX21" fmla="*/ 80878 w 324443"/>
                <a:gd name="connsiteY21" fmla="*/ 32485 h 324437"/>
                <a:gd name="connsiteX22" fmla="*/ 64114 w 324443"/>
                <a:gd name="connsiteY22" fmla="*/ 33152 h 324437"/>
                <a:gd name="connsiteX23" fmla="*/ 32110 w 324443"/>
                <a:gd name="connsiteY23" fmla="*/ 62965 h 324437"/>
                <a:gd name="connsiteX24" fmla="*/ 31158 w 324443"/>
                <a:gd name="connsiteY24" fmla="*/ 80872 h 324437"/>
                <a:gd name="connsiteX25" fmla="*/ 43445 w 324443"/>
                <a:gd name="connsiteY25" fmla="*/ 95065 h 324437"/>
                <a:gd name="connsiteX26" fmla="*/ 45636 w 324443"/>
                <a:gd name="connsiteY26" fmla="*/ 109828 h 324437"/>
                <a:gd name="connsiteX27" fmla="*/ 42588 w 324443"/>
                <a:gd name="connsiteY27" fmla="*/ 117067 h 324437"/>
                <a:gd name="connsiteX28" fmla="*/ 31253 w 324443"/>
                <a:gd name="connsiteY28" fmla="*/ 125830 h 324437"/>
                <a:gd name="connsiteX29" fmla="*/ 12870 w 324443"/>
                <a:gd name="connsiteY29" fmla="*/ 128021 h 324437"/>
                <a:gd name="connsiteX30" fmla="*/ 1535 w 324443"/>
                <a:gd name="connsiteY30" fmla="*/ 140404 h 324437"/>
                <a:gd name="connsiteX31" fmla="*/ 11 w 324443"/>
                <a:gd name="connsiteY31" fmla="*/ 184028 h 324437"/>
                <a:gd name="connsiteX32" fmla="*/ 11917 w 324443"/>
                <a:gd name="connsiteY32" fmla="*/ 197363 h 324437"/>
                <a:gd name="connsiteX33" fmla="*/ 30586 w 324443"/>
                <a:gd name="connsiteY33" fmla="*/ 198697 h 324437"/>
                <a:gd name="connsiteX34" fmla="*/ 42588 w 324443"/>
                <a:gd name="connsiteY34" fmla="*/ 207555 h 324437"/>
                <a:gd name="connsiteX35" fmla="*/ 45540 w 324443"/>
                <a:gd name="connsiteY35" fmla="*/ 214794 h 324437"/>
                <a:gd name="connsiteX36" fmla="*/ 43826 w 324443"/>
                <a:gd name="connsiteY36" fmla="*/ 228986 h 324437"/>
                <a:gd name="connsiteX37" fmla="*/ 32396 w 324443"/>
                <a:gd name="connsiteY37" fmla="*/ 243559 h 324437"/>
                <a:gd name="connsiteX38" fmla="*/ 33063 w 324443"/>
                <a:gd name="connsiteY38" fmla="*/ 260323 h 324437"/>
                <a:gd name="connsiteX39" fmla="*/ 62876 w 324443"/>
                <a:gd name="connsiteY39" fmla="*/ 292232 h 324437"/>
                <a:gd name="connsiteX40" fmla="*/ 80783 w 324443"/>
                <a:gd name="connsiteY40" fmla="*/ 293185 h 324437"/>
                <a:gd name="connsiteX41" fmla="*/ 94880 w 324443"/>
                <a:gd name="connsiteY41" fmla="*/ 280993 h 324437"/>
                <a:gd name="connsiteX42" fmla="*/ 109644 w 324443"/>
                <a:gd name="connsiteY42" fmla="*/ 278802 h 324437"/>
                <a:gd name="connsiteX43" fmla="*/ 116883 w 324443"/>
                <a:gd name="connsiteY43" fmla="*/ 281850 h 324437"/>
                <a:gd name="connsiteX44" fmla="*/ 125646 w 324443"/>
                <a:gd name="connsiteY44" fmla="*/ 293185 h 324437"/>
                <a:gd name="connsiteX45" fmla="*/ 127836 w 324443"/>
                <a:gd name="connsiteY45" fmla="*/ 311568 h 324437"/>
                <a:gd name="connsiteX46" fmla="*/ 140219 w 324443"/>
                <a:gd name="connsiteY46" fmla="*/ 322903 h 324437"/>
                <a:gd name="connsiteX47" fmla="*/ 183939 w 324443"/>
                <a:gd name="connsiteY47" fmla="*/ 324427 h 324437"/>
                <a:gd name="connsiteX48" fmla="*/ 197274 w 324443"/>
                <a:gd name="connsiteY48" fmla="*/ 312425 h 324437"/>
                <a:gd name="connsiteX49" fmla="*/ 198607 w 324443"/>
                <a:gd name="connsiteY49" fmla="*/ 293756 h 324437"/>
                <a:gd name="connsiteX50" fmla="*/ 207561 w 324443"/>
                <a:gd name="connsiteY50" fmla="*/ 281850 h 324437"/>
                <a:gd name="connsiteX51" fmla="*/ 214800 w 324443"/>
                <a:gd name="connsiteY51" fmla="*/ 278802 h 324437"/>
                <a:gd name="connsiteX52" fmla="*/ 228992 w 324443"/>
                <a:gd name="connsiteY52" fmla="*/ 280516 h 324437"/>
                <a:gd name="connsiteX53" fmla="*/ 243565 w 324443"/>
                <a:gd name="connsiteY53" fmla="*/ 291946 h 324437"/>
                <a:gd name="connsiteX54" fmla="*/ 260329 w 324443"/>
                <a:gd name="connsiteY54" fmla="*/ 291280 h 324437"/>
                <a:gd name="connsiteX55" fmla="*/ 292333 w 324443"/>
                <a:gd name="connsiteY55" fmla="*/ 261466 h 324437"/>
                <a:gd name="connsiteX56" fmla="*/ 293286 w 324443"/>
                <a:gd name="connsiteY56" fmla="*/ 243559 h 324437"/>
                <a:gd name="connsiteX57" fmla="*/ 280998 w 324443"/>
                <a:gd name="connsiteY57" fmla="*/ 229367 h 324437"/>
                <a:gd name="connsiteX58" fmla="*/ 278808 w 324443"/>
                <a:gd name="connsiteY58" fmla="*/ 214603 h 324437"/>
                <a:gd name="connsiteX59" fmla="*/ 281856 w 324443"/>
                <a:gd name="connsiteY59" fmla="*/ 207364 h 324437"/>
                <a:gd name="connsiteX60" fmla="*/ 293190 w 324443"/>
                <a:gd name="connsiteY60" fmla="*/ 198601 h 324437"/>
                <a:gd name="connsiteX61" fmla="*/ 311574 w 324443"/>
                <a:gd name="connsiteY61" fmla="*/ 196411 h 324437"/>
                <a:gd name="connsiteX62" fmla="*/ 322908 w 324443"/>
                <a:gd name="connsiteY62" fmla="*/ 184028 h 324437"/>
                <a:gd name="connsiteX63" fmla="*/ 324432 w 324443"/>
                <a:gd name="connsiteY63" fmla="*/ 140404 h 324437"/>
                <a:gd name="connsiteX64" fmla="*/ 312526 w 324443"/>
                <a:gd name="connsiteY64" fmla="*/ 127069 h 32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24443" h="324437">
                  <a:moveTo>
                    <a:pt x="312621" y="127069"/>
                  </a:moveTo>
                  <a:lnTo>
                    <a:pt x="293952" y="125735"/>
                  </a:lnTo>
                  <a:cubicBezTo>
                    <a:pt x="288523" y="125354"/>
                    <a:pt x="283951" y="121830"/>
                    <a:pt x="281951" y="116877"/>
                  </a:cubicBezTo>
                  <a:cubicBezTo>
                    <a:pt x="280998" y="114400"/>
                    <a:pt x="280046" y="112019"/>
                    <a:pt x="278903" y="109638"/>
                  </a:cubicBezTo>
                  <a:cubicBezTo>
                    <a:pt x="276807" y="104971"/>
                    <a:pt x="277474" y="99446"/>
                    <a:pt x="280617" y="95446"/>
                  </a:cubicBezTo>
                  <a:lnTo>
                    <a:pt x="292047" y="80872"/>
                  </a:lnTo>
                  <a:cubicBezTo>
                    <a:pt x="295953" y="75824"/>
                    <a:pt x="295667" y="68776"/>
                    <a:pt x="291381" y="64108"/>
                  </a:cubicBezTo>
                  <a:lnTo>
                    <a:pt x="261567" y="32200"/>
                  </a:lnTo>
                  <a:cubicBezTo>
                    <a:pt x="256805" y="27151"/>
                    <a:pt x="248994" y="26675"/>
                    <a:pt x="243660" y="31247"/>
                  </a:cubicBezTo>
                  <a:lnTo>
                    <a:pt x="229563" y="43439"/>
                  </a:lnTo>
                  <a:cubicBezTo>
                    <a:pt x="225468" y="46963"/>
                    <a:pt x="219753" y="47821"/>
                    <a:pt x="214800" y="45630"/>
                  </a:cubicBezTo>
                  <a:cubicBezTo>
                    <a:pt x="212418" y="44582"/>
                    <a:pt x="210037" y="43534"/>
                    <a:pt x="207561" y="42582"/>
                  </a:cubicBezTo>
                  <a:cubicBezTo>
                    <a:pt x="202703" y="40772"/>
                    <a:pt x="199369" y="36391"/>
                    <a:pt x="198798" y="31247"/>
                  </a:cubicBezTo>
                  <a:lnTo>
                    <a:pt x="196607" y="12864"/>
                  </a:lnTo>
                  <a:cubicBezTo>
                    <a:pt x="195845" y="6577"/>
                    <a:pt x="190606" y="1720"/>
                    <a:pt x="184224" y="1529"/>
                  </a:cubicBezTo>
                  <a:lnTo>
                    <a:pt x="140505" y="5"/>
                  </a:lnTo>
                  <a:cubicBezTo>
                    <a:pt x="133551" y="-185"/>
                    <a:pt x="127741" y="5053"/>
                    <a:pt x="127170" y="12007"/>
                  </a:cubicBezTo>
                  <a:lnTo>
                    <a:pt x="125836" y="30676"/>
                  </a:lnTo>
                  <a:cubicBezTo>
                    <a:pt x="125455" y="36010"/>
                    <a:pt x="121931" y="40677"/>
                    <a:pt x="116883" y="42582"/>
                  </a:cubicBezTo>
                  <a:cubicBezTo>
                    <a:pt x="114406" y="43534"/>
                    <a:pt x="112025" y="44487"/>
                    <a:pt x="109644" y="45630"/>
                  </a:cubicBezTo>
                  <a:cubicBezTo>
                    <a:pt x="104976" y="47725"/>
                    <a:pt x="99452" y="47059"/>
                    <a:pt x="95451" y="43915"/>
                  </a:cubicBezTo>
                  <a:lnTo>
                    <a:pt x="80878" y="32485"/>
                  </a:lnTo>
                  <a:cubicBezTo>
                    <a:pt x="75925" y="28580"/>
                    <a:pt x="68781" y="28866"/>
                    <a:pt x="64114" y="33152"/>
                  </a:cubicBezTo>
                  <a:lnTo>
                    <a:pt x="32110" y="62965"/>
                  </a:lnTo>
                  <a:cubicBezTo>
                    <a:pt x="27062" y="67728"/>
                    <a:pt x="26586" y="75634"/>
                    <a:pt x="31158" y="80872"/>
                  </a:cubicBezTo>
                  <a:lnTo>
                    <a:pt x="43445" y="95065"/>
                  </a:lnTo>
                  <a:cubicBezTo>
                    <a:pt x="46969" y="99160"/>
                    <a:pt x="47826" y="104875"/>
                    <a:pt x="45636" y="109828"/>
                  </a:cubicBezTo>
                  <a:cubicBezTo>
                    <a:pt x="44588" y="112210"/>
                    <a:pt x="43540" y="114591"/>
                    <a:pt x="42588" y="117067"/>
                  </a:cubicBezTo>
                  <a:cubicBezTo>
                    <a:pt x="40778" y="121830"/>
                    <a:pt x="36396" y="125259"/>
                    <a:pt x="31253" y="125830"/>
                  </a:cubicBezTo>
                  <a:lnTo>
                    <a:pt x="12870" y="128021"/>
                  </a:lnTo>
                  <a:cubicBezTo>
                    <a:pt x="6583" y="128783"/>
                    <a:pt x="1725" y="134022"/>
                    <a:pt x="1535" y="140404"/>
                  </a:cubicBezTo>
                  <a:lnTo>
                    <a:pt x="11" y="184028"/>
                  </a:lnTo>
                  <a:cubicBezTo>
                    <a:pt x="-275" y="190981"/>
                    <a:pt x="5059" y="196792"/>
                    <a:pt x="11917" y="197363"/>
                  </a:cubicBezTo>
                  <a:lnTo>
                    <a:pt x="30586" y="198697"/>
                  </a:lnTo>
                  <a:cubicBezTo>
                    <a:pt x="35920" y="199078"/>
                    <a:pt x="40587" y="202602"/>
                    <a:pt x="42588" y="207555"/>
                  </a:cubicBezTo>
                  <a:cubicBezTo>
                    <a:pt x="43540" y="210031"/>
                    <a:pt x="44493" y="212413"/>
                    <a:pt x="45540" y="214794"/>
                  </a:cubicBezTo>
                  <a:cubicBezTo>
                    <a:pt x="47636" y="219461"/>
                    <a:pt x="46969" y="224986"/>
                    <a:pt x="43826" y="228986"/>
                  </a:cubicBezTo>
                  <a:lnTo>
                    <a:pt x="32396" y="243559"/>
                  </a:lnTo>
                  <a:cubicBezTo>
                    <a:pt x="28491" y="248608"/>
                    <a:pt x="28776" y="255656"/>
                    <a:pt x="33063" y="260323"/>
                  </a:cubicBezTo>
                  <a:lnTo>
                    <a:pt x="62876" y="292232"/>
                  </a:lnTo>
                  <a:cubicBezTo>
                    <a:pt x="67638" y="297280"/>
                    <a:pt x="75449" y="297757"/>
                    <a:pt x="80783" y="293185"/>
                  </a:cubicBezTo>
                  <a:lnTo>
                    <a:pt x="94880" y="280993"/>
                  </a:lnTo>
                  <a:cubicBezTo>
                    <a:pt x="98976" y="277468"/>
                    <a:pt x="104691" y="276611"/>
                    <a:pt x="109644" y="278802"/>
                  </a:cubicBezTo>
                  <a:cubicBezTo>
                    <a:pt x="112025" y="279850"/>
                    <a:pt x="114406" y="280897"/>
                    <a:pt x="116883" y="281850"/>
                  </a:cubicBezTo>
                  <a:cubicBezTo>
                    <a:pt x="121645" y="283660"/>
                    <a:pt x="125074" y="288041"/>
                    <a:pt x="125646" y="293185"/>
                  </a:cubicBezTo>
                  <a:lnTo>
                    <a:pt x="127836" y="311568"/>
                  </a:lnTo>
                  <a:cubicBezTo>
                    <a:pt x="128598" y="317854"/>
                    <a:pt x="133837" y="322712"/>
                    <a:pt x="140219" y="322903"/>
                  </a:cubicBezTo>
                  <a:lnTo>
                    <a:pt x="183939" y="324427"/>
                  </a:lnTo>
                  <a:cubicBezTo>
                    <a:pt x="190892" y="324712"/>
                    <a:pt x="196702" y="319378"/>
                    <a:pt x="197274" y="312425"/>
                  </a:cubicBezTo>
                  <a:lnTo>
                    <a:pt x="198607" y="293756"/>
                  </a:lnTo>
                  <a:cubicBezTo>
                    <a:pt x="198988" y="288422"/>
                    <a:pt x="202512" y="283755"/>
                    <a:pt x="207561" y="281850"/>
                  </a:cubicBezTo>
                  <a:cubicBezTo>
                    <a:pt x="210037" y="280897"/>
                    <a:pt x="212418" y="279945"/>
                    <a:pt x="214800" y="278802"/>
                  </a:cubicBezTo>
                  <a:cubicBezTo>
                    <a:pt x="219467" y="276706"/>
                    <a:pt x="224991" y="277373"/>
                    <a:pt x="228992" y="280516"/>
                  </a:cubicBezTo>
                  <a:lnTo>
                    <a:pt x="243565" y="291946"/>
                  </a:lnTo>
                  <a:cubicBezTo>
                    <a:pt x="248518" y="295852"/>
                    <a:pt x="255662" y="295566"/>
                    <a:pt x="260329" y="291280"/>
                  </a:cubicBezTo>
                  <a:lnTo>
                    <a:pt x="292333" y="261466"/>
                  </a:lnTo>
                  <a:cubicBezTo>
                    <a:pt x="297381" y="256704"/>
                    <a:pt x="297858" y="248798"/>
                    <a:pt x="293286" y="243559"/>
                  </a:cubicBezTo>
                  <a:lnTo>
                    <a:pt x="280998" y="229367"/>
                  </a:lnTo>
                  <a:cubicBezTo>
                    <a:pt x="277474" y="225271"/>
                    <a:pt x="276617" y="219556"/>
                    <a:pt x="278808" y="214603"/>
                  </a:cubicBezTo>
                  <a:cubicBezTo>
                    <a:pt x="279855" y="212222"/>
                    <a:pt x="280903" y="209841"/>
                    <a:pt x="281856" y="207364"/>
                  </a:cubicBezTo>
                  <a:cubicBezTo>
                    <a:pt x="283665" y="202602"/>
                    <a:pt x="288047" y="199173"/>
                    <a:pt x="293190" y="198601"/>
                  </a:cubicBezTo>
                  <a:lnTo>
                    <a:pt x="311574" y="196411"/>
                  </a:lnTo>
                  <a:cubicBezTo>
                    <a:pt x="317860" y="195649"/>
                    <a:pt x="322718" y="190410"/>
                    <a:pt x="322908" y="184028"/>
                  </a:cubicBezTo>
                  <a:lnTo>
                    <a:pt x="324432" y="140404"/>
                  </a:lnTo>
                  <a:cubicBezTo>
                    <a:pt x="324718" y="133450"/>
                    <a:pt x="319384" y="127640"/>
                    <a:pt x="312526" y="127069"/>
                  </a:cubicBezTo>
                  <a:close/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392147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4C7095DE-45E4-49D5-5A81-ADAFFD6391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63" progId="TCLayout.ActiveDocument.1">
                  <p:embed/>
                </p:oleObj>
              </mc:Choice>
              <mc:Fallback>
                <p:oleObj name="think-cell Slide" r:id="rId3" imgW="353" imgH="363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7095DE-45E4-49D5-5A81-ADAFFD639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72AFB2-394B-F0FE-1818-0F16CF381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lan conditional access policies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F138C6D-B01C-F04C-22A3-CBFEA55F6A47}"/>
              </a:ext>
            </a:extLst>
          </p:cNvPr>
          <p:cNvGrpSpPr>
            <a:grpSpLocks noChangeAspect="1"/>
          </p:cNvGrpSpPr>
          <p:nvPr/>
        </p:nvGrpSpPr>
        <p:grpSpPr>
          <a:xfrm>
            <a:off x="2937620" y="3105491"/>
            <a:ext cx="1931060" cy="1361351"/>
            <a:chOff x="2515221" y="2805443"/>
            <a:chExt cx="1318940" cy="929822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6DFD0F2-CE2F-F355-3171-37B7BE71ECCB}"/>
                </a:ext>
              </a:extLst>
            </p:cNvPr>
            <p:cNvSpPr/>
            <p:nvPr/>
          </p:nvSpPr>
          <p:spPr>
            <a:xfrm>
              <a:off x="2515221" y="2805443"/>
              <a:ext cx="1318940" cy="929821"/>
            </a:xfrm>
            <a:custGeom>
              <a:avLst/>
              <a:gdLst>
                <a:gd name="connsiteX0" fmla="*/ 863626 w 1318940"/>
                <a:gd name="connsiteY0" fmla="*/ 929822 h 929821"/>
                <a:gd name="connsiteX1" fmla="*/ 1035134 w 1318940"/>
                <a:gd name="connsiteY1" fmla="*/ 929822 h 929821"/>
                <a:gd name="connsiteX2" fmla="*/ 1318940 w 1318940"/>
                <a:gd name="connsiteY2" fmla="*/ 646016 h 929821"/>
                <a:gd name="connsiteX3" fmla="*/ 1063719 w 1318940"/>
                <a:gd name="connsiteY3" fmla="*/ 362210 h 929821"/>
                <a:gd name="connsiteX4" fmla="*/ 612488 w 1318940"/>
                <a:gd name="connsiteY4" fmla="*/ 2859 h 929821"/>
                <a:gd name="connsiteX5" fmla="*/ 253137 w 1318940"/>
                <a:gd name="connsiteY5" fmla="*/ 362210 h 929821"/>
                <a:gd name="connsiteX6" fmla="*/ 1999 w 1318940"/>
                <a:gd name="connsiteY6" fmla="*/ 674601 h 929821"/>
                <a:gd name="connsiteX7" fmla="*/ 285805 w 1318940"/>
                <a:gd name="connsiteY7" fmla="*/ 929822 h 929821"/>
                <a:gd name="connsiteX8" fmla="*/ 424645 w 1318940"/>
                <a:gd name="connsiteY8" fmla="*/ 929822 h 9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8940" h="929821">
                  <a:moveTo>
                    <a:pt x="863626" y="929822"/>
                  </a:moveTo>
                  <a:cubicBezTo>
                    <a:pt x="1035134" y="929822"/>
                    <a:pt x="1035134" y="929822"/>
                    <a:pt x="1035134" y="929822"/>
                  </a:cubicBezTo>
                  <a:cubicBezTo>
                    <a:pt x="1194392" y="929822"/>
                    <a:pt x="1318940" y="799149"/>
                    <a:pt x="1318940" y="646016"/>
                  </a:cubicBezTo>
                  <a:cubicBezTo>
                    <a:pt x="1318940" y="501050"/>
                    <a:pt x="1206643" y="380586"/>
                    <a:pt x="1063719" y="362210"/>
                  </a:cubicBezTo>
                  <a:cubicBezTo>
                    <a:pt x="1035134" y="137615"/>
                    <a:pt x="835041" y="-23684"/>
                    <a:pt x="612488" y="2859"/>
                  </a:cubicBezTo>
                  <a:cubicBezTo>
                    <a:pt x="426687" y="25318"/>
                    <a:pt x="277638" y="174367"/>
                    <a:pt x="253137" y="362210"/>
                  </a:cubicBezTo>
                  <a:cubicBezTo>
                    <a:pt x="93879" y="380586"/>
                    <a:pt x="-16377" y="519426"/>
                    <a:pt x="1999" y="674601"/>
                  </a:cubicBezTo>
                  <a:cubicBezTo>
                    <a:pt x="16291" y="819566"/>
                    <a:pt x="136756" y="925738"/>
                    <a:pt x="285805" y="929822"/>
                  </a:cubicBezTo>
                  <a:cubicBezTo>
                    <a:pt x="424645" y="929822"/>
                    <a:pt x="424645" y="929822"/>
                    <a:pt x="424645" y="929822"/>
                  </a:cubicBezTo>
                </a:path>
              </a:pathLst>
            </a:custGeom>
            <a:noFill/>
            <a:ln w="6350" cap="sq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4129822B-306E-0B35-2B80-E5B3A500AA2E}"/>
                </a:ext>
              </a:extLst>
            </p:cNvPr>
            <p:cNvCxnSpPr>
              <a:cxnSpLocks/>
              <a:endCxn id="46" idx="0"/>
            </p:cNvCxnSpPr>
            <p:nvPr/>
          </p:nvCxnSpPr>
          <p:spPr>
            <a:xfrm>
              <a:off x="2940844" y="3735264"/>
              <a:ext cx="438003" cy="1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Oval 83">
            <a:extLst>
              <a:ext uri="{FF2B5EF4-FFF2-40B4-BE49-F238E27FC236}">
                <a16:creationId xmlns:a16="http://schemas.microsoft.com/office/drawing/2014/main" id="{1B62023E-4AE5-DC0E-4D21-3EC65EFCC086}"/>
              </a:ext>
            </a:extLst>
          </p:cNvPr>
          <p:cNvSpPr>
            <a:spLocks noChangeAspect="1"/>
          </p:cNvSpPr>
          <p:nvPr/>
        </p:nvSpPr>
        <p:spPr>
          <a:xfrm>
            <a:off x="2157332" y="2079021"/>
            <a:ext cx="780288" cy="7802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763A8270-AC78-4E54-E86A-242B730C4D56}"/>
              </a:ext>
            </a:extLst>
          </p:cNvPr>
          <p:cNvGrpSpPr>
            <a:grpSpLocks noChangeAspect="1"/>
          </p:cNvGrpSpPr>
          <p:nvPr/>
        </p:nvGrpSpPr>
        <p:grpSpPr>
          <a:xfrm>
            <a:off x="2325369" y="2317618"/>
            <a:ext cx="444215" cy="303095"/>
            <a:chOff x="9318171" y="3575367"/>
            <a:chExt cx="608647" cy="415289"/>
          </a:xfrm>
        </p:grpSpPr>
        <p:grpSp>
          <p:nvGrpSpPr>
            <p:cNvPr id="86" name="Graphic 4">
              <a:extLst>
                <a:ext uri="{FF2B5EF4-FFF2-40B4-BE49-F238E27FC236}">
                  <a16:creationId xmlns:a16="http://schemas.microsoft.com/office/drawing/2014/main" id="{2F660A8F-A854-2EDA-DCDD-85CEDD0D9A58}"/>
                </a:ext>
              </a:extLst>
            </p:cNvPr>
            <p:cNvGrpSpPr/>
            <p:nvPr/>
          </p:nvGrpSpPr>
          <p:grpSpPr>
            <a:xfrm>
              <a:off x="9318171" y="3575367"/>
              <a:ext cx="608647" cy="415289"/>
              <a:chOff x="9318171" y="3575367"/>
              <a:chExt cx="608647" cy="415289"/>
            </a:xfrm>
            <a:noFill/>
          </p:grpSpPr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A87CDD6A-093B-F90F-7E09-15E70495CA13}"/>
                  </a:ext>
                </a:extLst>
              </p:cNvPr>
              <p:cNvSpPr/>
              <p:nvPr/>
            </p:nvSpPr>
            <p:spPr>
              <a:xfrm>
                <a:off x="9318171" y="3575367"/>
                <a:ext cx="608647" cy="415289"/>
              </a:xfrm>
              <a:custGeom>
                <a:avLst/>
                <a:gdLst>
                  <a:gd name="connsiteX0" fmla="*/ 32385 w 608647"/>
                  <a:gd name="connsiteY0" fmla="*/ 0 h 415289"/>
                  <a:gd name="connsiteX1" fmla="*/ 576263 w 608647"/>
                  <a:gd name="connsiteY1" fmla="*/ 0 h 415289"/>
                  <a:gd name="connsiteX2" fmla="*/ 608648 w 608647"/>
                  <a:gd name="connsiteY2" fmla="*/ 32385 h 415289"/>
                  <a:gd name="connsiteX3" fmla="*/ 608648 w 608647"/>
                  <a:gd name="connsiteY3" fmla="*/ 382905 h 415289"/>
                  <a:gd name="connsiteX4" fmla="*/ 576263 w 608647"/>
                  <a:gd name="connsiteY4" fmla="*/ 415290 h 415289"/>
                  <a:gd name="connsiteX5" fmla="*/ 32385 w 608647"/>
                  <a:gd name="connsiteY5" fmla="*/ 415290 h 415289"/>
                  <a:gd name="connsiteX6" fmla="*/ 0 w 608647"/>
                  <a:gd name="connsiteY6" fmla="*/ 382905 h 415289"/>
                  <a:gd name="connsiteX7" fmla="*/ 0 w 608647"/>
                  <a:gd name="connsiteY7" fmla="*/ 32385 h 415289"/>
                  <a:gd name="connsiteX8" fmla="*/ 32385 w 608647"/>
                  <a:gd name="connsiteY8" fmla="*/ 0 h 415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647" h="415289">
                    <a:moveTo>
                      <a:pt x="32385" y="0"/>
                    </a:moveTo>
                    <a:lnTo>
                      <a:pt x="576263" y="0"/>
                    </a:lnTo>
                    <a:cubicBezTo>
                      <a:pt x="594360" y="0"/>
                      <a:pt x="608648" y="14288"/>
                      <a:pt x="608648" y="32385"/>
                    </a:cubicBezTo>
                    <a:lnTo>
                      <a:pt x="608648" y="382905"/>
                    </a:lnTo>
                    <a:cubicBezTo>
                      <a:pt x="608648" y="401003"/>
                      <a:pt x="594360" y="415290"/>
                      <a:pt x="576263" y="415290"/>
                    </a:cubicBezTo>
                    <a:lnTo>
                      <a:pt x="32385" y="415290"/>
                    </a:lnTo>
                    <a:cubicBezTo>
                      <a:pt x="14288" y="415290"/>
                      <a:pt x="0" y="401003"/>
                      <a:pt x="0" y="382905"/>
                    </a:cubicBezTo>
                    <a:lnTo>
                      <a:pt x="0" y="32385"/>
                    </a:lnTo>
                    <a:cubicBezTo>
                      <a:pt x="952" y="15240"/>
                      <a:pt x="15240" y="0"/>
                      <a:pt x="32385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16" name="Graphic 4">
                <a:extLst>
                  <a:ext uri="{FF2B5EF4-FFF2-40B4-BE49-F238E27FC236}">
                    <a16:creationId xmlns:a16="http://schemas.microsoft.com/office/drawing/2014/main" id="{8B164A83-12EF-45F5-4A00-487C6108AA8A}"/>
                  </a:ext>
                </a:extLst>
              </p:cNvPr>
              <p:cNvGrpSpPr/>
              <p:nvPr/>
            </p:nvGrpSpPr>
            <p:grpSpPr>
              <a:xfrm>
                <a:off x="9659166" y="3692525"/>
                <a:ext cx="174307" cy="164782"/>
                <a:chOff x="9659166" y="3692525"/>
                <a:chExt cx="174307" cy="164782"/>
              </a:xfrm>
            </p:grpSpPr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54F61824-32F9-0FB7-220B-4C8369AAA0DA}"/>
                    </a:ext>
                  </a:extLst>
                </p:cNvPr>
                <p:cNvSpPr/>
                <p:nvPr/>
              </p:nvSpPr>
              <p:spPr>
                <a:xfrm>
                  <a:off x="9659166" y="3692525"/>
                  <a:ext cx="174307" cy="9525"/>
                </a:xfrm>
                <a:custGeom>
                  <a:avLst/>
                  <a:gdLst>
                    <a:gd name="connsiteX0" fmla="*/ 0 w 174307"/>
                    <a:gd name="connsiteY0" fmla="*/ 0 h 9525"/>
                    <a:gd name="connsiteX1" fmla="*/ 174307 w 174307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4307" h="9525">
                      <a:moveTo>
                        <a:pt x="0" y="0"/>
                      </a:moveTo>
                      <a:lnTo>
                        <a:pt x="174307" y="0"/>
                      </a:lnTo>
                    </a:path>
                  </a:pathLst>
                </a:custGeom>
                <a:ln w="6350" cap="flat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18" name="Graphic 4">
                  <a:extLst>
                    <a:ext uri="{FF2B5EF4-FFF2-40B4-BE49-F238E27FC236}">
                      <a16:creationId xmlns:a16="http://schemas.microsoft.com/office/drawing/2014/main" id="{AB2E723B-FD39-41A7-3F46-030BB11C8F98}"/>
                    </a:ext>
                  </a:extLst>
                </p:cNvPr>
                <p:cNvGrpSpPr/>
                <p:nvPr/>
              </p:nvGrpSpPr>
              <p:grpSpPr>
                <a:xfrm>
                  <a:off x="9659166" y="3775392"/>
                  <a:ext cx="174307" cy="81915"/>
                  <a:chOff x="9659166" y="3775392"/>
                  <a:chExt cx="174307" cy="81915"/>
                </a:xfrm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4DBAE6EC-9530-4A1A-CCE7-B4B7B68D78C6}"/>
                      </a:ext>
                    </a:extLst>
                  </p:cNvPr>
                  <p:cNvSpPr/>
                  <p:nvPr/>
                </p:nvSpPr>
                <p:spPr>
                  <a:xfrm>
                    <a:off x="9659166" y="3775392"/>
                    <a:ext cx="174307" cy="9525"/>
                  </a:xfrm>
                  <a:custGeom>
                    <a:avLst/>
                    <a:gdLst>
                      <a:gd name="connsiteX0" fmla="*/ 0 w 174307"/>
                      <a:gd name="connsiteY0" fmla="*/ 0 h 9525"/>
                      <a:gd name="connsiteX1" fmla="*/ 174307 w 174307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4307" h="9525">
                        <a:moveTo>
                          <a:pt x="0" y="0"/>
                        </a:moveTo>
                        <a:lnTo>
                          <a:pt x="174307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63CE9411-3340-CD58-1C23-0337C99A03A7}"/>
                      </a:ext>
                    </a:extLst>
                  </p:cNvPr>
                  <p:cNvSpPr/>
                  <p:nvPr/>
                </p:nvSpPr>
                <p:spPr>
                  <a:xfrm>
                    <a:off x="9659166" y="3857307"/>
                    <a:ext cx="174307" cy="9525"/>
                  </a:xfrm>
                  <a:custGeom>
                    <a:avLst/>
                    <a:gdLst>
                      <a:gd name="connsiteX0" fmla="*/ 0 w 174307"/>
                      <a:gd name="connsiteY0" fmla="*/ 0 h 9525"/>
                      <a:gd name="connsiteX1" fmla="*/ 174307 w 174307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4307" h="9525">
                        <a:moveTo>
                          <a:pt x="0" y="0"/>
                        </a:moveTo>
                        <a:lnTo>
                          <a:pt x="174307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112" name="Graphic 4">
              <a:extLst>
                <a:ext uri="{FF2B5EF4-FFF2-40B4-BE49-F238E27FC236}">
                  <a16:creationId xmlns:a16="http://schemas.microsoft.com/office/drawing/2014/main" id="{4D398ED7-121F-2E12-719A-A25C34709740}"/>
                </a:ext>
              </a:extLst>
            </p:cNvPr>
            <p:cNvGrpSpPr/>
            <p:nvPr/>
          </p:nvGrpSpPr>
          <p:grpSpPr>
            <a:xfrm>
              <a:off x="9416278" y="3662045"/>
              <a:ext cx="158114" cy="222884"/>
              <a:chOff x="9416278" y="3662045"/>
              <a:chExt cx="158114" cy="222884"/>
            </a:xfrm>
            <a:noFill/>
          </p:grpSpPr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343F2783-A0E7-87DA-B4AB-9C826D65DEE8}"/>
                  </a:ext>
                </a:extLst>
              </p:cNvPr>
              <p:cNvSpPr/>
              <p:nvPr/>
            </p:nvSpPr>
            <p:spPr>
              <a:xfrm>
                <a:off x="9439138" y="3662045"/>
                <a:ext cx="108584" cy="106679"/>
              </a:xfrm>
              <a:custGeom>
                <a:avLst/>
                <a:gdLst>
                  <a:gd name="connsiteX0" fmla="*/ 108585 w 108584"/>
                  <a:gd name="connsiteY0" fmla="*/ 53340 h 106679"/>
                  <a:gd name="connsiteX1" fmla="*/ 54292 w 108584"/>
                  <a:gd name="connsiteY1" fmla="*/ 106680 h 106679"/>
                  <a:gd name="connsiteX2" fmla="*/ 0 w 108584"/>
                  <a:gd name="connsiteY2" fmla="*/ 53340 h 106679"/>
                  <a:gd name="connsiteX3" fmla="*/ 54292 w 108584"/>
                  <a:gd name="connsiteY3" fmla="*/ 0 h 106679"/>
                  <a:gd name="connsiteX4" fmla="*/ 108585 w 108584"/>
                  <a:gd name="connsiteY4" fmla="*/ 53340 h 106679"/>
                  <a:gd name="connsiteX5" fmla="*/ 108585 w 108584"/>
                  <a:gd name="connsiteY5" fmla="*/ 53340 h 106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584" h="106679">
                    <a:moveTo>
                      <a:pt x="108585" y="53340"/>
                    </a:moveTo>
                    <a:cubicBezTo>
                      <a:pt x="108585" y="82867"/>
                      <a:pt x="83820" y="106680"/>
                      <a:pt x="54292" y="106680"/>
                    </a:cubicBezTo>
                    <a:cubicBezTo>
                      <a:pt x="24765" y="106680"/>
                      <a:pt x="0" y="82867"/>
                      <a:pt x="0" y="53340"/>
                    </a:cubicBezTo>
                    <a:cubicBezTo>
                      <a:pt x="0" y="23813"/>
                      <a:pt x="24765" y="0"/>
                      <a:pt x="54292" y="0"/>
                    </a:cubicBezTo>
                    <a:cubicBezTo>
                      <a:pt x="83820" y="0"/>
                      <a:pt x="108585" y="23813"/>
                      <a:pt x="108585" y="53340"/>
                    </a:cubicBezTo>
                    <a:lnTo>
                      <a:pt x="108585" y="53340"/>
                    </a:lnTo>
                    <a:close/>
                  </a:path>
                </a:pathLst>
              </a:custGeom>
              <a:noFill/>
              <a:ln w="6350" cap="sq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6B5E7B7A-90DD-F660-788C-A1240496AB58}"/>
                  </a:ext>
                </a:extLst>
              </p:cNvPr>
              <p:cNvSpPr/>
              <p:nvPr/>
            </p:nvSpPr>
            <p:spPr>
              <a:xfrm>
                <a:off x="9416278" y="3804919"/>
                <a:ext cx="158114" cy="80010"/>
              </a:xfrm>
              <a:custGeom>
                <a:avLst/>
                <a:gdLst>
                  <a:gd name="connsiteX0" fmla="*/ 158115 w 158114"/>
                  <a:gd name="connsiteY0" fmla="*/ 80010 h 80010"/>
                  <a:gd name="connsiteX1" fmla="*/ 158115 w 158114"/>
                  <a:gd name="connsiteY1" fmla="*/ 57150 h 80010"/>
                  <a:gd name="connsiteX2" fmla="*/ 101918 w 158114"/>
                  <a:gd name="connsiteY2" fmla="*/ 0 h 80010"/>
                  <a:gd name="connsiteX3" fmla="*/ 56198 w 158114"/>
                  <a:gd name="connsiteY3" fmla="*/ 0 h 80010"/>
                  <a:gd name="connsiteX4" fmla="*/ 0 w 158114"/>
                  <a:gd name="connsiteY4" fmla="*/ 57150 h 80010"/>
                  <a:gd name="connsiteX5" fmla="*/ 0 w 158114"/>
                  <a:gd name="connsiteY5" fmla="*/ 80010 h 80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8114" h="80010">
                    <a:moveTo>
                      <a:pt x="158115" y="80010"/>
                    </a:moveTo>
                    <a:lnTo>
                      <a:pt x="158115" y="57150"/>
                    </a:lnTo>
                    <a:cubicBezTo>
                      <a:pt x="158115" y="25718"/>
                      <a:pt x="132398" y="0"/>
                      <a:pt x="101918" y="0"/>
                    </a:cubicBezTo>
                    <a:lnTo>
                      <a:pt x="56198" y="0"/>
                    </a:lnTo>
                    <a:cubicBezTo>
                      <a:pt x="24765" y="0"/>
                      <a:pt x="0" y="25718"/>
                      <a:pt x="0" y="57150"/>
                    </a:cubicBezTo>
                    <a:lnTo>
                      <a:pt x="0" y="80010"/>
                    </a:lnTo>
                  </a:path>
                </a:pathLst>
              </a:custGeom>
              <a:noFill/>
              <a:ln w="6350" cap="sq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02" name="Oval 201">
            <a:extLst>
              <a:ext uri="{FF2B5EF4-FFF2-40B4-BE49-F238E27FC236}">
                <a16:creationId xmlns:a16="http://schemas.microsoft.com/office/drawing/2014/main" id="{5B885808-94F4-9F8A-A4E0-A694110CE074}"/>
              </a:ext>
            </a:extLst>
          </p:cNvPr>
          <p:cNvSpPr>
            <a:spLocks noChangeAspect="1"/>
          </p:cNvSpPr>
          <p:nvPr/>
        </p:nvSpPr>
        <p:spPr>
          <a:xfrm>
            <a:off x="2157332" y="4932480"/>
            <a:ext cx="780288" cy="7802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0B6EC7EB-7F6F-A33C-DA03-BEE33406BB0F}"/>
              </a:ext>
            </a:extLst>
          </p:cNvPr>
          <p:cNvGrpSpPr>
            <a:grpSpLocks noChangeAspect="1"/>
          </p:cNvGrpSpPr>
          <p:nvPr/>
        </p:nvGrpSpPr>
        <p:grpSpPr>
          <a:xfrm>
            <a:off x="2324532" y="5157783"/>
            <a:ext cx="408222" cy="329683"/>
            <a:chOff x="9324743" y="4238815"/>
            <a:chExt cx="603504" cy="487394"/>
          </a:xfrm>
        </p:grpSpPr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E48454C7-FAF2-266C-FA22-E368BB277683}"/>
                </a:ext>
              </a:extLst>
            </p:cNvPr>
            <p:cNvSpPr/>
            <p:nvPr/>
          </p:nvSpPr>
          <p:spPr>
            <a:xfrm>
              <a:off x="9406086" y="4452461"/>
              <a:ext cx="189071" cy="189071"/>
            </a:xfrm>
            <a:custGeom>
              <a:avLst/>
              <a:gdLst>
                <a:gd name="connsiteX0" fmla="*/ 139732 w 189071"/>
                <a:gd name="connsiteY0" fmla="*/ 0 h 189071"/>
                <a:gd name="connsiteX1" fmla="*/ 189071 w 189071"/>
                <a:gd name="connsiteY1" fmla="*/ 0 h 189071"/>
                <a:gd name="connsiteX2" fmla="*/ 189071 w 189071"/>
                <a:gd name="connsiteY2" fmla="*/ 189071 h 189071"/>
                <a:gd name="connsiteX3" fmla="*/ 139732 w 189071"/>
                <a:gd name="connsiteY3" fmla="*/ 189071 h 189071"/>
                <a:gd name="connsiteX4" fmla="*/ 49339 w 189071"/>
                <a:gd name="connsiteY4" fmla="*/ 189071 h 189071"/>
                <a:gd name="connsiteX5" fmla="*/ 0 w 189071"/>
                <a:gd name="connsiteY5" fmla="*/ 189071 h 189071"/>
                <a:gd name="connsiteX6" fmla="*/ 0 w 189071"/>
                <a:gd name="connsiteY6" fmla="*/ 0 h 189071"/>
                <a:gd name="connsiteX7" fmla="*/ 49339 w 189071"/>
                <a:gd name="connsiteY7" fmla="*/ 0 h 18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071" h="189071">
                  <a:moveTo>
                    <a:pt x="139732" y="0"/>
                  </a:moveTo>
                  <a:cubicBezTo>
                    <a:pt x="166981" y="0"/>
                    <a:pt x="189071" y="0"/>
                    <a:pt x="189071" y="0"/>
                  </a:cubicBezTo>
                  <a:lnTo>
                    <a:pt x="189071" y="189071"/>
                  </a:lnTo>
                  <a:cubicBezTo>
                    <a:pt x="189071" y="189071"/>
                    <a:pt x="166981" y="189071"/>
                    <a:pt x="139732" y="189071"/>
                  </a:cubicBezTo>
                  <a:lnTo>
                    <a:pt x="49339" y="189071"/>
                  </a:lnTo>
                  <a:cubicBezTo>
                    <a:pt x="22090" y="189071"/>
                    <a:pt x="0" y="189071"/>
                    <a:pt x="0" y="189071"/>
                  </a:cubicBezTo>
                  <a:lnTo>
                    <a:pt x="0" y="0"/>
                  </a:lnTo>
                  <a:cubicBezTo>
                    <a:pt x="0" y="0"/>
                    <a:pt x="22090" y="0"/>
                    <a:pt x="49339" y="0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F96953A7-B962-99EC-51E9-6410F2E65943}"/>
                </a:ext>
              </a:extLst>
            </p:cNvPr>
            <p:cNvSpPr/>
            <p:nvPr/>
          </p:nvSpPr>
          <p:spPr>
            <a:xfrm>
              <a:off x="9669738" y="4471130"/>
              <a:ext cx="185832" cy="9525"/>
            </a:xfrm>
            <a:custGeom>
              <a:avLst/>
              <a:gdLst>
                <a:gd name="connsiteX0" fmla="*/ 0 w 185832"/>
                <a:gd name="connsiteY0" fmla="*/ 0 h 9525"/>
                <a:gd name="connsiteX1" fmla="*/ 185833 w 18583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832" h="9525">
                  <a:moveTo>
                    <a:pt x="0" y="0"/>
                  </a:moveTo>
                  <a:lnTo>
                    <a:pt x="185833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9B6836D6-02F1-D0D8-F040-7D69355123DD}"/>
                </a:ext>
              </a:extLst>
            </p:cNvPr>
            <p:cNvSpPr/>
            <p:nvPr/>
          </p:nvSpPr>
          <p:spPr>
            <a:xfrm>
              <a:off x="9669738" y="4545711"/>
              <a:ext cx="185832" cy="9525"/>
            </a:xfrm>
            <a:custGeom>
              <a:avLst/>
              <a:gdLst>
                <a:gd name="connsiteX0" fmla="*/ 0 w 185832"/>
                <a:gd name="connsiteY0" fmla="*/ 0 h 9525"/>
                <a:gd name="connsiteX1" fmla="*/ 185833 w 18583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832" h="9525">
                  <a:moveTo>
                    <a:pt x="0" y="0"/>
                  </a:moveTo>
                  <a:lnTo>
                    <a:pt x="185833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8FE2C02F-41E8-F98E-CFE9-3C5473B4FA82}"/>
                </a:ext>
              </a:extLst>
            </p:cNvPr>
            <p:cNvSpPr/>
            <p:nvPr/>
          </p:nvSpPr>
          <p:spPr>
            <a:xfrm>
              <a:off x="9669738" y="4620387"/>
              <a:ext cx="185832" cy="9525"/>
            </a:xfrm>
            <a:custGeom>
              <a:avLst/>
              <a:gdLst>
                <a:gd name="connsiteX0" fmla="*/ 0 w 185832"/>
                <a:gd name="connsiteY0" fmla="*/ 0 h 9525"/>
                <a:gd name="connsiteX1" fmla="*/ 185833 w 18583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832" h="9525">
                  <a:moveTo>
                    <a:pt x="0" y="0"/>
                  </a:moveTo>
                  <a:lnTo>
                    <a:pt x="185833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F927F566-FA7E-C10B-CE34-B38F6330BF6A}"/>
                </a:ext>
              </a:extLst>
            </p:cNvPr>
            <p:cNvSpPr/>
            <p:nvPr/>
          </p:nvSpPr>
          <p:spPr>
            <a:xfrm>
              <a:off x="9324743" y="4238815"/>
              <a:ext cx="603504" cy="487394"/>
            </a:xfrm>
            <a:custGeom>
              <a:avLst/>
              <a:gdLst>
                <a:gd name="connsiteX0" fmla="*/ 563213 w 603504"/>
                <a:gd name="connsiteY0" fmla="*/ 0 h 487394"/>
                <a:gd name="connsiteX1" fmla="*/ 603504 w 603504"/>
                <a:gd name="connsiteY1" fmla="*/ 0 h 487394"/>
                <a:gd name="connsiteX2" fmla="*/ 603504 w 603504"/>
                <a:gd name="connsiteY2" fmla="*/ 487394 h 487394"/>
                <a:gd name="connsiteX3" fmla="*/ 563213 w 603504"/>
                <a:gd name="connsiteY3" fmla="*/ 487394 h 487394"/>
                <a:gd name="connsiteX4" fmla="*/ 40291 w 603504"/>
                <a:gd name="connsiteY4" fmla="*/ 487394 h 487394"/>
                <a:gd name="connsiteX5" fmla="*/ 0 w 603504"/>
                <a:gd name="connsiteY5" fmla="*/ 487394 h 487394"/>
                <a:gd name="connsiteX6" fmla="*/ 0 w 603504"/>
                <a:gd name="connsiteY6" fmla="*/ 0 h 487394"/>
                <a:gd name="connsiteX7" fmla="*/ 40291 w 603504"/>
                <a:gd name="connsiteY7" fmla="*/ 0 h 48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3504" h="487394">
                  <a:moveTo>
                    <a:pt x="563213" y="0"/>
                  </a:moveTo>
                  <a:cubicBezTo>
                    <a:pt x="585465" y="0"/>
                    <a:pt x="603504" y="0"/>
                    <a:pt x="603504" y="0"/>
                  </a:cubicBezTo>
                  <a:lnTo>
                    <a:pt x="603504" y="487394"/>
                  </a:lnTo>
                  <a:cubicBezTo>
                    <a:pt x="603504" y="487394"/>
                    <a:pt x="585465" y="487394"/>
                    <a:pt x="563213" y="487394"/>
                  </a:cubicBezTo>
                  <a:lnTo>
                    <a:pt x="40291" y="487394"/>
                  </a:lnTo>
                  <a:cubicBezTo>
                    <a:pt x="18039" y="487394"/>
                    <a:pt x="0" y="487394"/>
                    <a:pt x="0" y="487394"/>
                  </a:cubicBezTo>
                  <a:lnTo>
                    <a:pt x="0" y="0"/>
                  </a:lnTo>
                  <a:cubicBezTo>
                    <a:pt x="0" y="0"/>
                    <a:pt x="18039" y="0"/>
                    <a:pt x="40291" y="0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440C0A34-DD3B-0642-DB5E-A25A4C64D0D7}"/>
                </a:ext>
              </a:extLst>
            </p:cNvPr>
            <p:cNvSpPr/>
            <p:nvPr/>
          </p:nvSpPr>
          <p:spPr>
            <a:xfrm>
              <a:off x="9329220" y="4367593"/>
              <a:ext cx="597312" cy="9525"/>
            </a:xfrm>
            <a:custGeom>
              <a:avLst/>
              <a:gdLst>
                <a:gd name="connsiteX0" fmla="*/ 0 w 597312"/>
                <a:gd name="connsiteY0" fmla="*/ 0 h 9525"/>
                <a:gd name="connsiteX1" fmla="*/ 597313 w 59731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7312" h="9525">
                  <a:moveTo>
                    <a:pt x="0" y="0"/>
                  </a:moveTo>
                  <a:lnTo>
                    <a:pt x="597313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89C87151-F714-F947-8D03-43E0E881B494}"/>
                </a:ext>
              </a:extLst>
            </p:cNvPr>
            <p:cNvSpPr/>
            <p:nvPr/>
          </p:nvSpPr>
          <p:spPr>
            <a:xfrm>
              <a:off x="9383036" y="4291203"/>
              <a:ext cx="26479" cy="26479"/>
            </a:xfrm>
            <a:custGeom>
              <a:avLst/>
              <a:gdLst>
                <a:gd name="connsiteX0" fmla="*/ 26480 w 26479"/>
                <a:gd name="connsiteY0" fmla="*/ 13240 h 26479"/>
                <a:gd name="connsiteX1" fmla="*/ 13240 w 26479"/>
                <a:gd name="connsiteY1" fmla="*/ 26479 h 26479"/>
                <a:gd name="connsiteX2" fmla="*/ 0 w 26479"/>
                <a:gd name="connsiteY2" fmla="*/ 13240 h 26479"/>
                <a:gd name="connsiteX3" fmla="*/ 13240 w 26479"/>
                <a:gd name="connsiteY3" fmla="*/ 0 h 26479"/>
                <a:gd name="connsiteX4" fmla="*/ 26480 w 26479"/>
                <a:gd name="connsiteY4" fmla="*/ 13240 h 2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79" h="26479">
                  <a:moveTo>
                    <a:pt x="26480" y="13240"/>
                  </a:moveTo>
                  <a:cubicBezTo>
                    <a:pt x="26480" y="20552"/>
                    <a:pt x="20552" y="26479"/>
                    <a:pt x="13240" y="26479"/>
                  </a:cubicBezTo>
                  <a:cubicBezTo>
                    <a:pt x="5928" y="26479"/>
                    <a:pt x="0" y="20552"/>
                    <a:pt x="0" y="13240"/>
                  </a:cubicBezTo>
                  <a:cubicBezTo>
                    <a:pt x="0" y="5928"/>
                    <a:pt x="5928" y="0"/>
                    <a:pt x="13240" y="0"/>
                  </a:cubicBezTo>
                  <a:cubicBezTo>
                    <a:pt x="20552" y="0"/>
                    <a:pt x="26480" y="5928"/>
                    <a:pt x="26480" y="13240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FBE547F0-9BAE-6A35-8553-33CFFF8C9A6D}"/>
                </a:ext>
              </a:extLst>
            </p:cNvPr>
            <p:cNvSpPr/>
            <p:nvPr/>
          </p:nvSpPr>
          <p:spPr>
            <a:xfrm>
              <a:off x="9440662" y="4291203"/>
              <a:ext cx="26479" cy="26479"/>
            </a:xfrm>
            <a:custGeom>
              <a:avLst/>
              <a:gdLst>
                <a:gd name="connsiteX0" fmla="*/ 26479 w 26479"/>
                <a:gd name="connsiteY0" fmla="*/ 13240 h 26479"/>
                <a:gd name="connsiteX1" fmla="*/ 13240 w 26479"/>
                <a:gd name="connsiteY1" fmla="*/ 26479 h 26479"/>
                <a:gd name="connsiteX2" fmla="*/ 0 w 26479"/>
                <a:gd name="connsiteY2" fmla="*/ 13240 h 26479"/>
                <a:gd name="connsiteX3" fmla="*/ 13240 w 26479"/>
                <a:gd name="connsiteY3" fmla="*/ 0 h 26479"/>
                <a:gd name="connsiteX4" fmla="*/ 26479 w 26479"/>
                <a:gd name="connsiteY4" fmla="*/ 13240 h 2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79" h="26479">
                  <a:moveTo>
                    <a:pt x="26479" y="13240"/>
                  </a:moveTo>
                  <a:cubicBezTo>
                    <a:pt x="26479" y="20552"/>
                    <a:pt x="20552" y="26479"/>
                    <a:pt x="13240" y="26479"/>
                  </a:cubicBezTo>
                  <a:cubicBezTo>
                    <a:pt x="5928" y="26479"/>
                    <a:pt x="0" y="20552"/>
                    <a:pt x="0" y="13240"/>
                  </a:cubicBezTo>
                  <a:cubicBezTo>
                    <a:pt x="0" y="5928"/>
                    <a:pt x="5928" y="0"/>
                    <a:pt x="13240" y="0"/>
                  </a:cubicBezTo>
                  <a:cubicBezTo>
                    <a:pt x="20552" y="0"/>
                    <a:pt x="26479" y="5928"/>
                    <a:pt x="26479" y="13240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77E0611C-EF77-A47A-2BE5-D8F84F984D33}"/>
                </a:ext>
              </a:extLst>
            </p:cNvPr>
            <p:cNvSpPr/>
            <p:nvPr/>
          </p:nvSpPr>
          <p:spPr>
            <a:xfrm>
              <a:off x="9498288" y="4291203"/>
              <a:ext cx="26479" cy="26479"/>
            </a:xfrm>
            <a:custGeom>
              <a:avLst/>
              <a:gdLst>
                <a:gd name="connsiteX0" fmla="*/ 26480 w 26479"/>
                <a:gd name="connsiteY0" fmla="*/ 13240 h 26479"/>
                <a:gd name="connsiteX1" fmla="*/ 13240 w 26479"/>
                <a:gd name="connsiteY1" fmla="*/ 26479 h 26479"/>
                <a:gd name="connsiteX2" fmla="*/ 0 w 26479"/>
                <a:gd name="connsiteY2" fmla="*/ 13240 h 26479"/>
                <a:gd name="connsiteX3" fmla="*/ 13240 w 26479"/>
                <a:gd name="connsiteY3" fmla="*/ 0 h 26479"/>
                <a:gd name="connsiteX4" fmla="*/ 26480 w 26479"/>
                <a:gd name="connsiteY4" fmla="*/ 13240 h 2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79" h="26479">
                  <a:moveTo>
                    <a:pt x="26480" y="13240"/>
                  </a:moveTo>
                  <a:cubicBezTo>
                    <a:pt x="26480" y="20552"/>
                    <a:pt x="20552" y="26479"/>
                    <a:pt x="13240" y="26479"/>
                  </a:cubicBezTo>
                  <a:cubicBezTo>
                    <a:pt x="5928" y="26479"/>
                    <a:pt x="0" y="20552"/>
                    <a:pt x="0" y="13240"/>
                  </a:cubicBezTo>
                  <a:cubicBezTo>
                    <a:pt x="0" y="5928"/>
                    <a:pt x="5928" y="0"/>
                    <a:pt x="13240" y="0"/>
                  </a:cubicBezTo>
                  <a:cubicBezTo>
                    <a:pt x="20552" y="0"/>
                    <a:pt x="26480" y="5928"/>
                    <a:pt x="26480" y="13240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6" name="Oval 235">
            <a:extLst>
              <a:ext uri="{FF2B5EF4-FFF2-40B4-BE49-F238E27FC236}">
                <a16:creationId xmlns:a16="http://schemas.microsoft.com/office/drawing/2014/main" id="{25B0B8C8-48DB-C0C9-404C-4655BD248948}"/>
              </a:ext>
            </a:extLst>
          </p:cNvPr>
          <p:cNvSpPr>
            <a:spLocks noChangeAspect="1"/>
          </p:cNvSpPr>
          <p:nvPr/>
        </p:nvSpPr>
        <p:spPr>
          <a:xfrm>
            <a:off x="3603580" y="3623290"/>
            <a:ext cx="626974" cy="62697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91831656-7F10-6832-A0BF-0F6FE0A5371D}"/>
              </a:ext>
            </a:extLst>
          </p:cNvPr>
          <p:cNvGrpSpPr>
            <a:grpSpLocks noChangeAspect="1"/>
          </p:cNvGrpSpPr>
          <p:nvPr/>
        </p:nvGrpSpPr>
        <p:grpSpPr>
          <a:xfrm>
            <a:off x="3749441" y="3769088"/>
            <a:ext cx="335250" cy="335377"/>
            <a:chOff x="5812569" y="3145138"/>
            <a:chExt cx="567511" cy="567727"/>
          </a:xfrm>
        </p:grpSpPr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9B1C3032-3BAF-C490-7DA8-629EF12B053F}"/>
                </a:ext>
              </a:extLst>
            </p:cNvPr>
            <p:cNvSpPr/>
            <p:nvPr/>
          </p:nvSpPr>
          <p:spPr>
            <a:xfrm>
              <a:off x="6076573" y="3145138"/>
              <a:ext cx="303507" cy="303548"/>
            </a:xfrm>
            <a:custGeom>
              <a:avLst/>
              <a:gdLst>
                <a:gd name="connsiteX0" fmla="*/ 97245 w 303507"/>
                <a:gd name="connsiteY0" fmla="*/ 293386 h 303548"/>
                <a:gd name="connsiteX1" fmla="*/ 293346 w 303507"/>
                <a:gd name="connsiteY1" fmla="*/ 206262 h 303548"/>
                <a:gd name="connsiteX2" fmla="*/ 206221 w 303507"/>
                <a:gd name="connsiteY2" fmla="*/ 10162 h 303548"/>
                <a:gd name="connsiteX3" fmla="*/ 10121 w 303507"/>
                <a:gd name="connsiteY3" fmla="*/ 97286 h 303548"/>
                <a:gd name="connsiteX4" fmla="*/ 16759 w 303507"/>
                <a:gd name="connsiteY4" fmla="*/ 221092 h 30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507" h="303548">
                  <a:moveTo>
                    <a:pt x="97245" y="293386"/>
                  </a:moveTo>
                  <a:cubicBezTo>
                    <a:pt x="175456" y="323479"/>
                    <a:pt x="263253" y="284472"/>
                    <a:pt x="293346" y="206262"/>
                  </a:cubicBezTo>
                  <a:cubicBezTo>
                    <a:pt x="323439" y="128052"/>
                    <a:pt x="284432" y="40255"/>
                    <a:pt x="206221" y="10162"/>
                  </a:cubicBezTo>
                  <a:cubicBezTo>
                    <a:pt x="128011" y="-19931"/>
                    <a:pt x="40214" y="19076"/>
                    <a:pt x="10121" y="97286"/>
                  </a:cubicBezTo>
                  <a:cubicBezTo>
                    <a:pt x="-5397" y="137617"/>
                    <a:pt x="-2982" y="182651"/>
                    <a:pt x="16759" y="221092"/>
                  </a:cubicBezTo>
                </a:path>
              </a:pathLst>
            </a:custGeom>
            <a:noFill/>
            <a:ln w="63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6E925BD8-C3BA-60C6-5B90-2B0959387B70}"/>
                </a:ext>
              </a:extLst>
            </p:cNvPr>
            <p:cNvSpPr/>
            <p:nvPr/>
          </p:nvSpPr>
          <p:spPr>
            <a:xfrm>
              <a:off x="5812569" y="3365944"/>
              <a:ext cx="361249" cy="346921"/>
            </a:xfrm>
            <a:custGeom>
              <a:avLst/>
              <a:gdLst>
                <a:gd name="connsiteX0" fmla="*/ 280764 w 361249"/>
                <a:gd name="connsiteY0" fmla="*/ 0 h 346921"/>
                <a:gd name="connsiteX1" fmla="*/ 4539 w 361249"/>
                <a:gd name="connsiteY1" fmla="*/ 276225 h 346921"/>
                <a:gd name="connsiteX2" fmla="*/ 348 w 361249"/>
                <a:gd name="connsiteY2" fmla="*/ 290608 h 346921"/>
                <a:gd name="connsiteX3" fmla="*/ 11206 w 361249"/>
                <a:gd name="connsiteY3" fmla="*/ 340519 h 346921"/>
                <a:gd name="connsiteX4" fmla="*/ 14635 w 361249"/>
                <a:gd name="connsiteY4" fmla="*/ 343376 h 346921"/>
                <a:gd name="connsiteX5" fmla="*/ 79405 w 361249"/>
                <a:gd name="connsiteY5" fmla="*/ 346901 h 346921"/>
                <a:gd name="connsiteX6" fmla="*/ 90168 w 361249"/>
                <a:gd name="connsiteY6" fmla="*/ 342805 h 346921"/>
                <a:gd name="connsiteX7" fmla="*/ 123030 w 361249"/>
                <a:gd name="connsiteY7" fmla="*/ 310706 h 346921"/>
                <a:gd name="connsiteX8" fmla="*/ 127221 w 361249"/>
                <a:gd name="connsiteY8" fmla="*/ 298228 h 346921"/>
                <a:gd name="connsiteX9" fmla="*/ 119220 w 361249"/>
                <a:gd name="connsiteY9" fmla="*/ 247936 h 346921"/>
                <a:gd name="connsiteX10" fmla="*/ 122324 w 361249"/>
                <a:gd name="connsiteY10" fmla="*/ 243866 h 346921"/>
                <a:gd name="connsiteX11" fmla="*/ 123030 w 361249"/>
                <a:gd name="connsiteY11" fmla="*/ 243840 h 346921"/>
                <a:gd name="connsiteX12" fmla="*/ 178179 w 361249"/>
                <a:gd name="connsiteY12" fmla="*/ 248698 h 346921"/>
                <a:gd name="connsiteX13" fmla="*/ 190562 w 361249"/>
                <a:gd name="connsiteY13" fmla="*/ 244602 h 346921"/>
                <a:gd name="connsiteX14" fmla="*/ 204278 w 361249"/>
                <a:gd name="connsiteY14" fmla="*/ 232315 h 346921"/>
                <a:gd name="connsiteX15" fmla="*/ 209707 w 361249"/>
                <a:gd name="connsiteY15" fmla="*/ 219170 h 346921"/>
                <a:gd name="connsiteX16" fmla="*/ 206373 w 361249"/>
                <a:gd name="connsiteY16" fmla="*/ 161258 h 346921"/>
                <a:gd name="connsiteX17" fmla="*/ 209875 w 361249"/>
                <a:gd name="connsiteY17" fmla="*/ 157525 h 346921"/>
                <a:gd name="connsiteX18" fmla="*/ 210374 w 361249"/>
                <a:gd name="connsiteY18" fmla="*/ 157544 h 346921"/>
                <a:gd name="connsiteX19" fmla="*/ 257046 w 361249"/>
                <a:gd name="connsiteY19" fmla="*/ 162592 h 346921"/>
                <a:gd name="connsiteX20" fmla="*/ 274191 w 361249"/>
                <a:gd name="connsiteY20" fmla="*/ 156686 h 346921"/>
                <a:gd name="connsiteX21" fmla="*/ 361250 w 361249"/>
                <a:gd name="connsiteY21" fmla="*/ 72581 h 346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61249" h="346921">
                  <a:moveTo>
                    <a:pt x="280764" y="0"/>
                  </a:moveTo>
                  <a:lnTo>
                    <a:pt x="4539" y="276225"/>
                  </a:lnTo>
                  <a:cubicBezTo>
                    <a:pt x="815" y="280011"/>
                    <a:pt x="-759" y="285414"/>
                    <a:pt x="348" y="290608"/>
                  </a:cubicBezTo>
                  <a:lnTo>
                    <a:pt x="11206" y="340519"/>
                  </a:lnTo>
                  <a:cubicBezTo>
                    <a:pt x="11523" y="342166"/>
                    <a:pt x="12958" y="343361"/>
                    <a:pt x="14635" y="343376"/>
                  </a:cubicBezTo>
                  <a:lnTo>
                    <a:pt x="79405" y="346901"/>
                  </a:lnTo>
                  <a:cubicBezTo>
                    <a:pt x="83410" y="347118"/>
                    <a:pt x="87321" y="345630"/>
                    <a:pt x="90168" y="342805"/>
                  </a:cubicBezTo>
                  <a:lnTo>
                    <a:pt x="123030" y="310706"/>
                  </a:lnTo>
                  <a:cubicBezTo>
                    <a:pt x="126346" y="307458"/>
                    <a:pt x="127904" y="302818"/>
                    <a:pt x="127221" y="298228"/>
                  </a:cubicBezTo>
                  <a:lnTo>
                    <a:pt x="119220" y="247936"/>
                  </a:lnTo>
                  <a:cubicBezTo>
                    <a:pt x="118953" y="245955"/>
                    <a:pt x="120342" y="244132"/>
                    <a:pt x="122324" y="243866"/>
                  </a:cubicBezTo>
                  <a:cubicBezTo>
                    <a:pt x="122558" y="243834"/>
                    <a:pt x="122794" y="243825"/>
                    <a:pt x="123030" y="243840"/>
                  </a:cubicBezTo>
                  <a:lnTo>
                    <a:pt x="178179" y="248698"/>
                  </a:lnTo>
                  <a:cubicBezTo>
                    <a:pt x="182689" y="249049"/>
                    <a:pt x="187151" y="247573"/>
                    <a:pt x="190562" y="244602"/>
                  </a:cubicBezTo>
                  <a:lnTo>
                    <a:pt x="204278" y="232315"/>
                  </a:lnTo>
                  <a:cubicBezTo>
                    <a:pt x="207916" y="228933"/>
                    <a:pt x="209898" y="224133"/>
                    <a:pt x="209707" y="219170"/>
                  </a:cubicBezTo>
                  <a:lnTo>
                    <a:pt x="206373" y="161258"/>
                  </a:lnTo>
                  <a:cubicBezTo>
                    <a:pt x="206310" y="159260"/>
                    <a:pt x="207877" y="157589"/>
                    <a:pt x="209875" y="157525"/>
                  </a:cubicBezTo>
                  <a:cubicBezTo>
                    <a:pt x="210042" y="157520"/>
                    <a:pt x="210208" y="157526"/>
                    <a:pt x="210374" y="157544"/>
                  </a:cubicBezTo>
                  <a:lnTo>
                    <a:pt x="257046" y="162592"/>
                  </a:lnTo>
                  <a:cubicBezTo>
                    <a:pt x="263352" y="163244"/>
                    <a:pt x="269625" y="161083"/>
                    <a:pt x="274191" y="156686"/>
                  </a:cubicBezTo>
                  <a:lnTo>
                    <a:pt x="361250" y="72581"/>
                  </a:lnTo>
                </a:path>
              </a:pathLst>
            </a:custGeom>
            <a:noFill/>
            <a:ln w="63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87CF7F74-EFF6-18AB-1699-D84F0112F557}"/>
                </a:ext>
              </a:extLst>
            </p:cNvPr>
            <p:cNvSpPr/>
            <p:nvPr/>
          </p:nvSpPr>
          <p:spPr>
            <a:xfrm>
              <a:off x="6230778" y="3236309"/>
              <a:ext cx="76771" cy="76771"/>
            </a:xfrm>
            <a:custGeom>
              <a:avLst/>
              <a:gdLst>
                <a:gd name="connsiteX0" fmla="*/ 76771 w 76771"/>
                <a:gd name="connsiteY0" fmla="*/ 38386 h 76771"/>
                <a:gd name="connsiteX1" fmla="*/ 38386 w 76771"/>
                <a:gd name="connsiteY1" fmla="*/ 76772 h 76771"/>
                <a:gd name="connsiteX2" fmla="*/ 0 w 76771"/>
                <a:gd name="connsiteY2" fmla="*/ 38386 h 76771"/>
                <a:gd name="connsiteX3" fmla="*/ 38386 w 76771"/>
                <a:gd name="connsiteY3" fmla="*/ 0 h 76771"/>
                <a:gd name="connsiteX4" fmla="*/ 76771 w 76771"/>
                <a:gd name="connsiteY4" fmla="*/ 38386 h 7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71" h="76771">
                  <a:moveTo>
                    <a:pt x="76771" y="38386"/>
                  </a:moveTo>
                  <a:cubicBezTo>
                    <a:pt x="76771" y="59586"/>
                    <a:pt x="59586" y="76772"/>
                    <a:pt x="38386" y="76772"/>
                  </a:cubicBezTo>
                  <a:cubicBezTo>
                    <a:pt x="17186" y="76772"/>
                    <a:pt x="0" y="59586"/>
                    <a:pt x="0" y="38386"/>
                  </a:cubicBezTo>
                  <a:cubicBezTo>
                    <a:pt x="0" y="17186"/>
                    <a:pt x="17186" y="0"/>
                    <a:pt x="38386" y="0"/>
                  </a:cubicBezTo>
                  <a:cubicBezTo>
                    <a:pt x="59586" y="0"/>
                    <a:pt x="76771" y="17186"/>
                    <a:pt x="76771" y="38386"/>
                  </a:cubicBezTo>
                  <a:close/>
                </a:path>
              </a:pathLst>
            </a:custGeom>
            <a:noFill/>
            <a:ln w="63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4" name="Oval 243">
            <a:extLst>
              <a:ext uri="{FF2B5EF4-FFF2-40B4-BE49-F238E27FC236}">
                <a16:creationId xmlns:a16="http://schemas.microsoft.com/office/drawing/2014/main" id="{1EB66CC4-604C-D5A6-C12F-75C4204B96ED}"/>
              </a:ext>
            </a:extLst>
          </p:cNvPr>
          <p:cNvSpPr>
            <a:spLocks noChangeAspect="1"/>
          </p:cNvSpPr>
          <p:nvPr/>
        </p:nvSpPr>
        <p:spPr>
          <a:xfrm>
            <a:off x="4924690" y="2079021"/>
            <a:ext cx="780288" cy="7802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CE5922C3-2211-2B02-204C-2919FE26E617}"/>
              </a:ext>
            </a:extLst>
          </p:cNvPr>
          <p:cNvSpPr>
            <a:spLocks noChangeAspect="1"/>
          </p:cNvSpPr>
          <p:nvPr/>
        </p:nvSpPr>
        <p:spPr>
          <a:xfrm>
            <a:off x="4924690" y="4932480"/>
            <a:ext cx="780288" cy="7802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>
              <a:solidFill>
                <a:schemeClr val="bg1"/>
              </a:solidFill>
            </a:endParaRPr>
          </a:p>
        </p:txBody>
      </p: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EFBF03C3-07F1-05BE-A070-A68657FD1020}"/>
              </a:ext>
            </a:extLst>
          </p:cNvPr>
          <p:cNvGrpSpPr>
            <a:grpSpLocks noChangeAspect="1"/>
          </p:cNvGrpSpPr>
          <p:nvPr/>
        </p:nvGrpSpPr>
        <p:grpSpPr>
          <a:xfrm>
            <a:off x="5074908" y="2318998"/>
            <a:ext cx="479851" cy="317215"/>
            <a:chOff x="9319504" y="1472628"/>
            <a:chExt cx="607028" cy="401288"/>
          </a:xfrm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A3329A7C-FF8D-6B32-38FB-963717BD7966}"/>
                </a:ext>
              </a:extLst>
            </p:cNvPr>
            <p:cNvSpPr/>
            <p:nvPr/>
          </p:nvSpPr>
          <p:spPr>
            <a:xfrm>
              <a:off x="9319504" y="1474438"/>
              <a:ext cx="415004" cy="304419"/>
            </a:xfrm>
            <a:custGeom>
              <a:avLst/>
              <a:gdLst>
                <a:gd name="connsiteX0" fmla="*/ 0 w 415004"/>
                <a:gd name="connsiteY0" fmla="*/ 0 h 304419"/>
                <a:gd name="connsiteX1" fmla="*/ 415004 w 415004"/>
                <a:gd name="connsiteY1" fmla="*/ 0 h 304419"/>
                <a:gd name="connsiteX2" fmla="*/ 415004 w 415004"/>
                <a:gd name="connsiteY2" fmla="*/ 304419 h 304419"/>
                <a:gd name="connsiteX3" fmla="*/ 0 w 415004"/>
                <a:gd name="connsiteY3" fmla="*/ 304419 h 30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004" h="304419">
                  <a:moveTo>
                    <a:pt x="0" y="0"/>
                  </a:moveTo>
                  <a:lnTo>
                    <a:pt x="415004" y="0"/>
                  </a:lnTo>
                  <a:lnTo>
                    <a:pt x="415004" y="304419"/>
                  </a:lnTo>
                  <a:lnTo>
                    <a:pt x="0" y="304419"/>
                  </a:ln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4C24165C-2B58-2134-B481-7D2A87EB8FB3}"/>
                </a:ext>
              </a:extLst>
            </p:cNvPr>
            <p:cNvSpPr/>
            <p:nvPr/>
          </p:nvSpPr>
          <p:spPr>
            <a:xfrm>
              <a:off x="9436662" y="1823815"/>
              <a:ext cx="181736" cy="48196"/>
            </a:xfrm>
            <a:custGeom>
              <a:avLst/>
              <a:gdLst>
                <a:gd name="connsiteX0" fmla="*/ 0 w 181736"/>
                <a:gd name="connsiteY0" fmla="*/ 48196 h 48196"/>
                <a:gd name="connsiteX1" fmla="*/ 17526 w 181736"/>
                <a:gd name="connsiteY1" fmla="*/ 0 h 48196"/>
                <a:gd name="connsiteX2" fmla="*/ 164211 w 181736"/>
                <a:gd name="connsiteY2" fmla="*/ 0 h 48196"/>
                <a:gd name="connsiteX3" fmla="*/ 181737 w 181736"/>
                <a:gd name="connsiteY3" fmla="*/ 48196 h 48196"/>
                <a:gd name="connsiteX4" fmla="*/ 0 w 181736"/>
                <a:gd name="connsiteY4" fmla="*/ 48196 h 4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736" h="48196">
                  <a:moveTo>
                    <a:pt x="0" y="48196"/>
                  </a:moveTo>
                  <a:lnTo>
                    <a:pt x="17526" y="0"/>
                  </a:lnTo>
                  <a:lnTo>
                    <a:pt x="164211" y="0"/>
                  </a:lnTo>
                  <a:lnTo>
                    <a:pt x="181737" y="48196"/>
                  </a:lnTo>
                  <a:lnTo>
                    <a:pt x="0" y="48196"/>
                  </a:ln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37BF9A68-56E1-9911-A8A5-5E1F9C4535EF}"/>
                </a:ext>
              </a:extLst>
            </p:cNvPr>
            <p:cNvSpPr/>
            <p:nvPr/>
          </p:nvSpPr>
          <p:spPr>
            <a:xfrm>
              <a:off x="9495240" y="1780381"/>
              <a:ext cx="9525" cy="43434"/>
            </a:xfrm>
            <a:custGeom>
              <a:avLst/>
              <a:gdLst>
                <a:gd name="connsiteX0" fmla="*/ 0 w 9525"/>
                <a:gd name="connsiteY0" fmla="*/ 0 h 43434"/>
                <a:gd name="connsiteX1" fmla="*/ 0 w 9525"/>
                <a:gd name="connsiteY1" fmla="*/ 43434 h 4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3434">
                  <a:moveTo>
                    <a:pt x="0" y="0"/>
                  </a:moveTo>
                  <a:lnTo>
                    <a:pt x="0" y="43434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9E612C26-3C4E-CD92-2800-B432D38F18F3}"/>
                </a:ext>
              </a:extLst>
            </p:cNvPr>
            <p:cNvSpPr/>
            <p:nvPr/>
          </p:nvSpPr>
          <p:spPr>
            <a:xfrm>
              <a:off x="9559534" y="1780381"/>
              <a:ext cx="9525" cy="43434"/>
            </a:xfrm>
            <a:custGeom>
              <a:avLst/>
              <a:gdLst>
                <a:gd name="connsiteX0" fmla="*/ 0 w 9525"/>
                <a:gd name="connsiteY0" fmla="*/ 0 h 43434"/>
                <a:gd name="connsiteX1" fmla="*/ 0 w 9525"/>
                <a:gd name="connsiteY1" fmla="*/ 43434 h 4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3434">
                  <a:moveTo>
                    <a:pt x="0" y="0"/>
                  </a:moveTo>
                  <a:lnTo>
                    <a:pt x="0" y="43434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C353A196-5E15-B936-6DF3-FCF1A0D52845}"/>
                </a:ext>
              </a:extLst>
            </p:cNvPr>
            <p:cNvSpPr/>
            <p:nvPr/>
          </p:nvSpPr>
          <p:spPr>
            <a:xfrm>
              <a:off x="9779657" y="1472628"/>
              <a:ext cx="146875" cy="401288"/>
            </a:xfrm>
            <a:custGeom>
              <a:avLst/>
              <a:gdLst>
                <a:gd name="connsiteX0" fmla="*/ 0 w 146875"/>
                <a:gd name="connsiteY0" fmla="*/ 0 h 401288"/>
                <a:gd name="connsiteX1" fmla="*/ 146876 w 146875"/>
                <a:gd name="connsiteY1" fmla="*/ 0 h 401288"/>
                <a:gd name="connsiteX2" fmla="*/ 146876 w 146875"/>
                <a:gd name="connsiteY2" fmla="*/ 401288 h 401288"/>
                <a:gd name="connsiteX3" fmla="*/ 0 w 146875"/>
                <a:gd name="connsiteY3" fmla="*/ 401288 h 401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875" h="401288">
                  <a:moveTo>
                    <a:pt x="0" y="0"/>
                  </a:moveTo>
                  <a:lnTo>
                    <a:pt x="146876" y="0"/>
                  </a:lnTo>
                  <a:lnTo>
                    <a:pt x="146876" y="401288"/>
                  </a:lnTo>
                  <a:lnTo>
                    <a:pt x="0" y="401288"/>
                  </a:ln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A166FF9-AD0A-8238-1EFD-D4F415BB0168}"/>
                </a:ext>
              </a:extLst>
            </p:cNvPr>
            <p:cNvSpPr/>
            <p:nvPr/>
          </p:nvSpPr>
          <p:spPr>
            <a:xfrm>
              <a:off x="9815376" y="1615789"/>
              <a:ext cx="76866" cy="9525"/>
            </a:xfrm>
            <a:custGeom>
              <a:avLst/>
              <a:gdLst>
                <a:gd name="connsiteX0" fmla="*/ 0 w 76866"/>
                <a:gd name="connsiteY0" fmla="*/ 0 h 9525"/>
                <a:gd name="connsiteX1" fmla="*/ 76867 w 7686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866" h="9525">
                  <a:moveTo>
                    <a:pt x="0" y="0"/>
                  </a:moveTo>
                  <a:lnTo>
                    <a:pt x="76867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26CECEA3-A5FF-C7F4-4EB5-3CF388639315}"/>
                </a:ext>
              </a:extLst>
            </p:cNvPr>
            <p:cNvSpPr/>
            <p:nvPr/>
          </p:nvSpPr>
          <p:spPr>
            <a:xfrm>
              <a:off x="9825472" y="1762760"/>
              <a:ext cx="56768" cy="56768"/>
            </a:xfrm>
            <a:custGeom>
              <a:avLst/>
              <a:gdLst>
                <a:gd name="connsiteX0" fmla="*/ 56769 w 56768"/>
                <a:gd name="connsiteY0" fmla="*/ 28385 h 56768"/>
                <a:gd name="connsiteX1" fmla="*/ 28385 w 56768"/>
                <a:gd name="connsiteY1" fmla="*/ 56769 h 56768"/>
                <a:gd name="connsiteX2" fmla="*/ 0 w 56768"/>
                <a:gd name="connsiteY2" fmla="*/ 28385 h 56768"/>
                <a:gd name="connsiteX3" fmla="*/ 28385 w 56768"/>
                <a:gd name="connsiteY3" fmla="*/ 0 h 56768"/>
                <a:gd name="connsiteX4" fmla="*/ 56769 w 56768"/>
                <a:gd name="connsiteY4" fmla="*/ 28385 h 5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68" h="56768">
                  <a:moveTo>
                    <a:pt x="56769" y="28385"/>
                  </a:moveTo>
                  <a:cubicBezTo>
                    <a:pt x="56769" y="44061"/>
                    <a:pt x="44061" y="56769"/>
                    <a:pt x="28385" y="56769"/>
                  </a:cubicBezTo>
                  <a:cubicBezTo>
                    <a:pt x="12708" y="56769"/>
                    <a:pt x="0" y="44061"/>
                    <a:pt x="0" y="28385"/>
                  </a:cubicBezTo>
                  <a:cubicBezTo>
                    <a:pt x="0" y="12708"/>
                    <a:pt x="12708" y="0"/>
                    <a:pt x="28385" y="0"/>
                  </a:cubicBezTo>
                  <a:cubicBezTo>
                    <a:pt x="44061" y="0"/>
                    <a:pt x="56769" y="12708"/>
                    <a:pt x="56769" y="28385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C348A8C3-6ED2-3F5E-C851-1C6B90455216}"/>
                </a:ext>
              </a:extLst>
            </p:cNvPr>
            <p:cNvSpPr/>
            <p:nvPr/>
          </p:nvSpPr>
          <p:spPr>
            <a:xfrm>
              <a:off x="9815376" y="1571021"/>
              <a:ext cx="76866" cy="9525"/>
            </a:xfrm>
            <a:custGeom>
              <a:avLst/>
              <a:gdLst>
                <a:gd name="connsiteX0" fmla="*/ 0 w 76866"/>
                <a:gd name="connsiteY0" fmla="*/ 0 h 9525"/>
                <a:gd name="connsiteX1" fmla="*/ 76867 w 7686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866" h="9525">
                  <a:moveTo>
                    <a:pt x="0" y="0"/>
                  </a:moveTo>
                  <a:lnTo>
                    <a:pt x="76867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BBB8D4FB-38A6-EF22-0C3A-37DAA8A2DB8A}"/>
              </a:ext>
            </a:extLst>
          </p:cNvPr>
          <p:cNvGrpSpPr>
            <a:grpSpLocks noChangeAspect="1"/>
          </p:cNvGrpSpPr>
          <p:nvPr/>
        </p:nvGrpSpPr>
        <p:grpSpPr>
          <a:xfrm>
            <a:off x="5091776" y="5100415"/>
            <a:ext cx="466937" cy="403764"/>
            <a:chOff x="9320933" y="4921122"/>
            <a:chExt cx="609695" cy="527208"/>
          </a:xfrm>
        </p:grpSpPr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C9B2B95A-2C14-9457-F2FB-ED290CA72010}"/>
                </a:ext>
              </a:extLst>
            </p:cNvPr>
            <p:cNvSpPr/>
            <p:nvPr/>
          </p:nvSpPr>
          <p:spPr>
            <a:xfrm>
              <a:off x="9320933" y="4921122"/>
              <a:ext cx="609695" cy="527208"/>
            </a:xfrm>
            <a:custGeom>
              <a:avLst/>
              <a:gdLst>
                <a:gd name="connsiteX0" fmla="*/ 304800 w 609695"/>
                <a:gd name="connsiteY0" fmla="*/ 0 h 527208"/>
                <a:gd name="connsiteX1" fmla="*/ 457295 w 609695"/>
                <a:gd name="connsiteY1" fmla="*/ 263652 h 527208"/>
                <a:gd name="connsiteX2" fmla="*/ 609695 w 609695"/>
                <a:gd name="connsiteY2" fmla="*/ 527209 h 527208"/>
                <a:gd name="connsiteX3" fmla="*/ 304800 w 609695"/>
                <a:gd name="connsiteY3" fmla="*/ 527209 h 527208"/>
                <a:gd name="connsiteX4" fmla="*/ 0 w 609695"/>
                <a:gd name="connsiteY4" fmla="*/ 527209 h 527208"/>
                <a:gd name="connsiteX5" fmla="*/ 152400 w 609695"/>
                <a:gd name="connsiteY5" fmla="*/ 263652 h 527208"/>
                <a:gd name="connsiteX6" fmla="*/ 304800 w 609695"/>
                <a:gd name="connsiteY6" fmla="*/ 0 h 52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95" h="527208">
                  <a:moveTo>
                    <a:pt x="304800" y="0"/>
                  </a:moveTo>
                  <a:lnTo>
                    <a:pt x="457295" y="263652"/>
                  </a:lnTo>
                  <a:lnTo>
                    <a:pt x="609695" y="527209"/>
                  </a:lnTo>
                  <a:lnTo>
                    <a:pt x="304800" y="527209"/>
                  </a:lnTo>
                  <a:lnTo>
                    <a:pt x="0" y="527209"/>
                  </a:lnTo>
                  <a:lnTo>
                    <a:pt x="152400" y="263652"/>
                  </a:lnTo>
                  <a:lnTo>
                    <a:pt x="304800" y="0"/>
                  </a:ln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BA34260B-DAD8-6371-081E-D4DDF1C982A9}"/>
                </a:ext>
              </a:extLst>
            </p:cNvPr>
            <p:cNvSpPr/>
            <p:nvPr/>
          </p:nvSpPr>
          <p:spPr>
            <a:xfrm>
              <a:off x="9622304" y="5104288"/>
              <a:ext cx="9525" cy="194881"/>
            </a:xfrm>
            <a:custGeom>
              <a:avLst/>
              <a:gdLst>
                <a:gd name="connsiteX0" fmla="*/ 0 w 9525"/>
                <a:gd name="connsiteY0" fmla="*/ 0 h 194881"/>
                <a:gd name="connsiteX1" fmla="*/ 0 w 9525"/>
                <a:gd name="connsiteY1" fmla="*/ 194881 h 19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4881">
                  <a:moveTo>
                    <a:pt x="0" y="0"/>
                  </a:moveTo>
                  <a:lnTo>
                    <a:pt x="0" y="194881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D4E6749A-88C6-D59F-5D8D-C5A95FA7AF60}"/>
                </a:ext>
              </a:extLst>
            </p:cNvPr>
            <p:cNvSpPr/>
            <p:nvPr/>
          </p:nvSpPr>
          <p:spPr>
            <a:xfrm>
              <a:off x="9603254" y="5324887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solidFill>
              <a:srgbClr val="00338D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073CBD86-EFE1-A6D7-AE66-B36808163E5C}"/>
              </a:ext>
            </a:extLst>
          </p:cNvPr>
          <p:cNvCxnSpPr>
            <a:stCxn id="84" idx="5"/>
          </p:cNvCxnSpPr>
          <p:nvPr/>
        </p:nvCxnSpPr>
        <p:spPr>
          <a:xfrm>
            <a:off x="2823349" y="2745038"/>
            <a:ext cx="477622" cy="453106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Arrow Connector 260">
            <a:extLst>
              <a:ext uri="{FF2B5EF4-FFF2-40B4-BE49-F238E27FC236}">
                <a16:creationId xmlns:a16="http://schemas.microsoft.com/office/drawing/2014/main" id="{53501C04-6D30-25E5-4C9D-6364BEFAEE37}"/>
              </a:ext>
            </a:extLst>
          </p:cNvPr>
          <p:cNvCxnSpPr>
            <a:cxnSpLocks/>
            <a:stCxn id="244" idx="3"/>
          </p:cNvCxnSpPr>
          <p:nvPr/>
        </p:nvCxnSpPr>
        <p:spPr>
          <a:xfrm flipH="1">
            <a:off x="4597286" y="2745038"/>
            <a:ext cx="441675" cy="453106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Arrow Connector 262">
            <a:extLst>
              <a:ext uri="{FF2B5EF4-FFF2-40B4-BE49-F238E27FC236}">
                <a16:creationId xmlns:a16="http://schemas.microsoft.com/office/drawing/2014/main" id="{C5B271BC-C0B7-F33C-9A14-0A7C21D0A102}"/>
              </a:ext>
            </a:extLst>
          </p:cNvPr>
          <p:cNvCxnSpPr>
            <a:cxnSpLocks/>
            <a:stCxn id="245" idx="1"/>
          </p:cNvCxnSpPr>
          <p:nvPr/>
        </p:nvCxnSpPr>
        <p:spPr>
          <a:xfrm flipH="1" flipV="1">
            <a:off x="4597286" y="4586097"/>
            <a:ext cx="441675" cy="460654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Arrow Connector 264">
            <a:extLst>
              <a:ext uri="{FF2B5EF4-FFF2-40B4-BE49-F238E27FC236}">
                <a16:creationId xmlns:a16="http://schemas.microsoft.com/office/drawing/2014/main" id="{1199E395-1DE4-6C68-C3D6-F0AC2CC55408}"/>
              </a:ext>
            </a:extLst>
          </p:cNvPr>
          <p:cNvCxnSpPr>
            <a:cxnSpLocks/>
            <a:stCxn id="202" idx="7"/>
          </p:cNvCxnSpPr>
          <p:nvPr/>
        </p:nvCxnSpPr>
        <p:spPr>
          <a:xfrm flipV="1">
            <a:off x="2823349" y="4586097"/>
            <a:ext cx="459648" cy="460654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915307A-4DF5-C458-5ED6-515B1800574A}"/>
              </a:ext>
            </a:extLst>
          </p:cNvPr>
          <p:cNvSpPr txBox="1"/>
          <p:nvPr/>
        </p:nvSpPr>
        <p:spPr>
          <a:xfrm>
            <a:off x="981107" y="1330323"/>
            <a:ext cx="5758501" cy="405273"/>
          </a:xfrm>
          <a:prstGeom prst="rect">
            <a:avLst/>
          </a:prstGeom>
          <a:solidFill>
            <a:srgbClr val="ACEAF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Signa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D2EE31-7C03-79F8-946B-7BABD8F10D22}"/>
              </a:ext>
            </a:extLst>
          </p:cNvPr>
          <p:cNvSpPr txBox="1"/>
          <p:nvPr/>
        </p:nvSpPr>
        <p:spPr>
          <a:xfrm>
            <a:off x="1003955" y="2198808"/>
            <a:ext cx="1064432" cy="4889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dirty="0"/>
              <a:t>User and loc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DFC704-C5BC-C92D-8AF3-F00085AC84F5}"/>
              </a:ext>
            </a:extLst>
          </p:cNvPr>
          <p:cNvSpPr txBox="1"/>
          <p:nvPr/>
        </p:nvSpPr>
        <p:spPr>
          <a:xfrm>
            <a:off x="5871454" y="2198808"/>
            <a:ext cx="1064432" cy="4889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dirty="0"/>
              <a:t>Devi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5685DB-F38F-E3B4-28AB-69C335489B19}"/>
              </a:ext>
            </a:extLst>
          </p:cNvPr>
          <p:cNvSpPr txBox="1"/>
          <p:nvPr/>
        </p:nvSpPr>
        <p:spPr>
          <a:xfrm>
            <a:off x="1003955" y="5057830"/>
            <a:ext cx="1064432" cy="4889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dirty="0"/>
              <a:t>Applic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6CEB55-D6F1-57DD-D8B3-5D506BFCF7BE}"/>
              </a:ext>
            </a:extLst>
          </p:cNvPr>
          <p:cNvSpPr txBox="1"/>
          <p:nvPr/>
        </p:nvSpPr>
        <p:spPr>
          <a:xfrm>
            <a:off x="5871454" y="5057830"/>
            <a:ext cx="1173158" cy="4889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dirty="0"/>
              <a:t>Real-time risk</a:t>
            </a:r>
          </a:p>
        </p:txBody>
      </p:sp>
      <p:sp>
        <p:nvSpPr>
          <p:cNvPr id="13" name="Left Bracket 12">
            <a:extLst>
              <a:ext uri="{FF2B5EF4-FFF2-40B4-BE49-F238E27FC236}">
                <a16:creationId xmlns:a16="http://schemas.microsoft.com/office/drawing/2014/main" id="{84725EAA-D43E-4FB4-DAB0-079213D10CBD}"/>
              </a:ext>
            </a:extLst>
          </p:cNvPr>
          <p:cNvSpPr/>
          <p:nvPr/>
        </p:nvSpPr>
        <p:spPr>
          <a:xfrm>
            <a:off x="7469579" y="2768876"/>
            <a:ext cx="403761" cy="2416238"/>
          </a:xfrm>
          <a:prstGeom prst="leftBracket">
            <a:avLst>
              <a:gd name="adj" fmla="val 0"/>
            </a:avLst>
          </a:prstGeom>
          <a:ln w="635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320FB4B-1915-BCEF-8AD9-9CCB42DBD9F2}"/>
              </a:ext>
            </a:extLst>
          </p:cNvPr>
          <p:cNvCxnSpPr>
            <a:cxnSpLocks/>
          </p:cNvCxnSpPr>
          <p:nvPr/>
        </p:nvCxnSpPr>
        <p:spPr>
          <a:xfrm flipV="1">
            <a:off x="4868680" y="3970139"/>
            <a:ext cx="3004660" cy="13712"/>
          </a:xfrm>
          <a:prstGeom prst="line">
            <a:avLst/>
          </a:prstGeom>
          <a:ln w="63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6A0D8EF-DE4F-78CA-DC66-9AF0557712DC}"/>
              </a:ext>
            </a:extLst>
          </p:cNvPr>
          <p:cNvGrpSpPr>
            <a:grpSpLocks noChangeAspect="1"/>
          </p:cNvGrpSpPr>
          <p:nvPr/>
        </p:nvGrpSpPr>
        <p:grpSpPr>
          <a:xfrm>
            <a:off x="8070662" y="3716228"/>
            <a:ext cx="466440" cy="466440"/>
            <a:chOff x="7985377" y="3639033"/>
            <a:chExt cx="620831" cy="620831"/>
          </a:xfrm>
        </p:grpSpPr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0B2F80DF-E274-DFDC-9A44-29EA60C162A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64147" y="3765492"/>
              <a:ext cx="263001" cy="340425"/>
              <a:chOff x="9390180" y="2776474"/>
              <a:chExt cx="465581" cy="602645"/>
            </a:xfrm>
          </p:grpSpPr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478665D8-3DCF-250F-A787-85CFA8386334}"/>
                  </a:ext>
                </a:extLst>
              </p:cNvPr>
              <p:cNvSpPr/>
              <p:nvPr/>
            </p:nvSpPr>
            <p:spPr>
              <a:xfrm>
                <a:off x="9390180" y="2975355"/>
                <a:ext cx="465581" cy="403764"/>
              </a:xfrm>
              <a:custGeom>
                <a:avLst/>
                <a:gdLst>
                  <a:gd name="connsiteX0" fmla="*/ 398050 w 465581"/>
                  <a:gd name="connsiteY0" fmla="*/ 403765 h 403764"/>
                  <a:gd name="connsiteX1" fmla="*/ 67532 w 465581"/>
                  <a:gd name="connsiteY1" fmla="*/ 403765 h 403764"/>
                  <a:gd name="connsiteX2" fmla="*/ 0 w 465581"/>
                  <a:gd name="connsiteY2" fmla="*/ 336042 h 403764"/>
                  <a:gd name="connsiteX3" fmla="*/ 0 w 465581"/>
                  <a:gd name="connsiteY3" fmla="*/ 67723 h 403764"/>
                  <a:gd name="connsiteX4" fmla="*/ 67532 w 465581"/>
                  <a:gd name="connsiteY4" fmla="*/ 0 h 403764"/>
                  <a:gd name="connsiteX5" fmla="*/ 398050 w 465581"/>
                  <a:gd name="connsiteY5" fmla="*/ 0 h 403764"/>
                  <a:gd name="connsiteX6" fmla="*/ 465582 w 465581"/>
                  <a:gd name="connsiteY6" fmla="*/ 67723 h 403764"/>
                  <a:gd name="connsiteX7" fmla="*/ 465582 w 465581"/>
                  <a:gd name="connsiteY7" fmla="*/ 336042 h 403764"/>
                  <a:gd name="connsiteX8" fmla="*/ 398050 w 465581"/>
                  <a:gd name="connsiteY8" fmla="*/ 403765 h 403764"/>
                  <a:gd name="connsiteX9" fmla="*/ 398050 w 465581"/>
                  <a:gd name="connsiteY9" fmla="*/ 403765 h 403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5581" h="403764">
                    <a:moveTo>
                      <a:pt x="398050" y="403765"/>
                    </a:moveTo>
                    <a:lnTo>
                      <a:pt x="67532" y="403765"/>
                    </a:lnTo>
                    <a:cubicBezTo>
                      <a:pt x="30289" y="403765"/>
                      <a:pt x="0" y="373380"/>
                      <a:pt x="0" y="336042"/>
                    </a:cubicBezTo>
                    <a:lnTo>
                      <a:pt x="0" y="67723"/>
                    </a:lnTo>
                    <a:cubicBezTo>
                      <a:pt x="0" y="30385"/>
                      <a:pt x="30289" y="0"/>
                      <a:pt x="67532" y="0"/>
                    </a:cubicBezTo>
                    <a:lnTo>
                      <a:pt x="398050" y="0"/>
                    </a:lnTo>
                    <a:cubicBezTo>
                      <a:pt x="435292" y="0"/>
                      <a:pt x="465582" y="30385"/>
                      <a:pt x="465582" y="67723"/>
                    </a:cubicBezTo>
                    <a:lnTo>
                      <a:pt x="465582" y="336042"/>
                    </a:lnTo>
                    <a:cubicBezTo>
                      <a:pt x="465582" y="373380"/>
                      <a:pt x="435292" y="403765"/>
                      <a:pt x="398050" y="403765"/>
                    </a:cubicBezTo>
                    <a:lnTo>
                      <a:pt x="398050" y="403765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63" name="Graphic 12">
                <a:extLst>
                  <a:ext uri="{FF2B5EF4-FFF2-40B4-BE49-F238E27FC236}">
                    <a16:creationId xmlns:a16="http://schemas.microsoft.com/office/drawing/2014/main" id="{830D007B-AEA9-24DC-35AD-1A59A07DD8E3}"/>
                  </a:ext>
                </a:extLst>
              </p:cNvPr>
              <p:cNvGrpSpPr/>
              <p:nvPr/>
            </p:nvGrpSpPr>
            <p:grpSpPr>
              <a:xfrm>
                <a:off x="9465522" y="2776474"/>
                <a:ext cx="317849" cy="488251"/>
                <a:chOff x="9465522" y="2776474"/>
                <a:chExt cx="317849" cy="488251"/>
              </a:xfrm>
              <a:noFill/>
            </p:grpSpPr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F1D24A4C-D81B-E884-68BC-A2917777BB72}"/>
                    </a:ext>
                  </a:extLst>
                </p:cNvPr>
                <p:cNvSpPr/>
                <p:nvPr/>
              </p:nvSpPr>
              <p:spPr>
                <a:xfrm>
                  <a:off x="9465522" y="2776474"/>
                  <a:ext cx="317849" cy="198881"/>
                </a:xfrm>
                <a:custGeom>
                  <a:avLst/>
                  <a:gdLst>
                    <a:gd name="connsiteX0" fmla="*/ 0 w 317849"/>
                    <a:gd name="connsiteY0" fmla="*/ 198882 h 198881"/>
                    <a:gd name="connsiteX1" fmla="*/ 0 w 317849"/>
                    <a:gd name="connsiteY1" fmla="*/ 198882 h 198881"/>
                    <a:gd name="connsiteX2" fmla="*/ 0 w 317849"/>
                    <a:gd name="connsiteY2" fmla="*/ 159068 h 198881"/>
                    <a:gd name="connsiteX3" fmla="*/ 157829 w 317849"/>
                    <a:gd name="connsiteY3" fmla="*/ 0 h 198881"/>
                    <a:gd name="connsiteX4" fmla="*/ 271463 w 317849"/>
                    <a:gd name="connsiteY4" fmla="*/ 46768 h 198881"/>
                    <a:gd name="connsiteX5" fmla="*/ 317849 w 317849"/>
                    <a:gd name="connsiteY5" fmla="*/ 159068 h 198881"/>
                    <a:gd name="connsiteX6" fmla="*/ 317849 w 317849"/>
                    <a:gd name="connsiteY6" fmla="*/ 198882 h 198881"/>
                    <a:gd name="connsiteX7" fmla="*/ 317849 w 317849"/>
                    <a:gd name="connsiteY7" fmla="*/ 198882 h 198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7849" h="198881">
                      <a:moveTo>
                        <a:pt x="0" y="198882"/>
                      </a:moveTo>
                      <a:lnTo>
                        <a:pt x="0" y="198882"/>
                      </a:lnTo>
                      <a:lnTo>
                        <a:pt x="0" y="159068"/>
                      </a:lnTo>
                      <a:cubicBezTo>
                        <a:pt x="0" y="70199"/>
                        <a:pt x="72009" y="0"/>
                        <a:pt x="157829" y="0"/>
                      </a:cubicBezTo>
                      <a:cubicBezTo>
                        <a:pt x="201930" y="0"/>
                        <a:pt x="241364" y="16383"/>
                        <a:pt x="271463" y="46768"/>
                      </a:cubicBezTo>
                      <a:cubicBezTo>
                        <a:pt x="299276" y="74867"/>
                        <a:pt x="317849" y="114586"/>
                        <a:pt x="317849" y="159068"/>
                      </a:cubicBezTo>
                      <a:lnTo>
                        <a:pt x="317849" y="198882"/>
                      </a:lnTo>
                      <a:lnTo>
                        <a:pt x="317849" y="198882"/>
                      </a:lnTo>
                    </a:path>
                  </a:pathLst>
                </a:custGeom>
                <a:noFill/>
                <a:ln w="6350" cap="flat">
                  <a:solidFill>
                    <a:srgbClr val="00338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2ADDC9D2-F797-9080-FDC3-BD3B47398FD1}"/>
                    </a:ext>
                  </a:extLst>
                </p:cNvPr>
                <p:cNvSpPr/>
                <p:nvPr/>
              </p:nvSpPr>
              <p:spPr>
                <a:xfrm>
                  <a:off x="9581537" y="3089846"/>
                  <a:ext cx="82867" cy="174879"/>
                </a:xfrm>
                <a:custGeom>
                  <a:avLst/>
                  <a:gdLst>
                    <a:gd name="connsiteX0" fmla="*/ 63627 w 82867"/>
                    <a:gd name="connsiteY0" fmla="*/ 78962 h 174879"/>
                    <a:gd name="connsiteX1" fmla="*/ 67723 w 82867"/>
                    <a:gd name="connsiteY1" fmla="*/ 174879 h 174879"/>
                    <a:gd name="connsiteX2" fmla="*/ 15145 w 82867"/>
                    <a:gd name="connsiteY2" fmla="*/ 174879 h 174879"/>
                    <a:gd name="connsiteX3" fmla="*/ 20193 w 82867"/>
                    <a:gd name="connsiteY3" fmla="*/ 78962 h 174879"/>
                    <a:gd name="connsiteX4" fmla="*/ 0 w 82867"/>
                    <a:gd name="connsiteY4" fmla="*/ 42958 h 174879"/>
                    <a:gd name="connsiteX5" fmla="*/ 41434 w 82867"/>
                    <a:gd name="connsiteY5" fmla="*/ 0 h 174879"/>
                    <a:gd name="connsiteX6" fmla="*/ 82867 w 82867"/>
                    <a:gd name="connsiteY6" fmla="*/ 42958 h 174879"/>
                    <a:gd name="connsiteX7" fmla="*/ 63722 w 82867"/>
                    <a:gd name="connsiteY7" fmla="*/ 78962 h 174879"/>
                    <a:gd name="connsiteX8" fmla="*/ 63722 w 82867"/>
                    <a:gd name="connsiteY8" fmla="*/ 78962 h 174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2867" h="174879">
                      <a:moveTo>
                        <a:pt x="63627" y="78962"/>
                      </a:moveTo>
                      <a:lnTo>
                        <a:pt x="67723" y="174879"/>
                      </a:lnTo>
                      <a:lnTo>
                        <a:pt x="15145" y="174879"/>
                      </a:lnTo>
                      <a:lnTo>
                        <a:pt x="20193" y="78962"/>
                      </a:lnTo>
                      <a:cubicBezTo>
                        <a:pt x="8096" y="72009"/>
                        <a:pt x="0" y="58007"/>
                        <a:pt x="0" y="42958"/>
                      </a:cubicBezTo>
                      <a:cubicBezTo>
                        <a:pt x="0" y="19050"/>
                        <a:pt x="19145" y="0"/>
                        <a:pt x="41434" y="0"/>
                      </a:cubicBezTo>
                      <a:cubicBezTo>
                        <a:pt x="63722" y="0"/>
                        <a:pt x="82867" y="18955"/>
                        <a:pt x="82867" y="42958"/>
                      </a:cubicBezTo>
                      <a:cubicBezTo>
                        <a:pt x="82867" y="58007"/>
                        <a:pt x="74771" y="71914"/>
                        <a:pt x="63722" y="78962"/>
                      </a:cubicBezTo>
                      <a:lnTo>
                        <a:pt x="63722" y="78962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rgbClr val="00338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2021946-746F-00A3-381A-2692703D2E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5377" y="3639033"/>
              <a:ext cx="620831" cy="620831"/>
            </a:xfrm>
            <a:prstGeom prst="ellipse">
              <a:avLst/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83C4E0B-4FDF-5E37-CD1E-D5E47037BEA0}"/>
              </a:ext>
            </a:extLst>
          </p:cNvPr>
          <p:cNvGrpSpPr>
            <a:grpSpLocks noChangeAspect="1"/>
          </p:cNvGrpSpPr>
          <p:nvPr/>
        </p:nvGrpSpPr>
        <p:grpSpPr>
          <a:xfrm>
            <a:off x="8070662" y="2497602"/>
            <a:ext cx="466440" cy="466440"/>
            <a:chOff x="7985377" y="2183584"/>
            <a:chExt cx="620831" cy="620831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A5843EB-1C2A-80EB-C773-6312C2681F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5377" y="2183584"/>
              <a:ext cx="620831" cy="620831"/>
            </a:xfrm>
            <a:prstGeom prst="ellipse">
              <a:avLst/>
            </a:prstGeom>
            <a:noFill/>
            <a:ln w="6350">
              <a:solidFill>
                <a:srgbClr val="2699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7D4DA64-770B-450D-8A3C-F06750093B5B}"/>
                </a:ext>
              </a:extLst>
            </p:cNvPr>
            <p:cNvSpPr/>
            <p:nvPr/>
          </p:nvSpPr>
          <p:spPr>
            <a:xfrm>
              <a:off x="8164917" y="2391977"/>
              <a:ext cx="261461" cy="188595"/>
            </a:xfrm>
            <a:custGeom>
              <a:avLst/>
              <a:gdLst>
                <a:gd name="connsiteX0" fmla="*/ 0 w 261461"/>
                <a:gd name="connsiteY0" fmla="*/ 105442 h 188595"/>
                <a:gd name="connsiteX1" fmla="*/ 72771 w 261461"/>
                <a:gd name="connsiteY1" fmla="*/ 188595 h 188595"/>
                <a:gd name="connsiteX2" fmla="*/ 261461 w 261461"/>
                <a:gd name="connsiteY2" fmla="*/ 0 h 188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461" h="188595">
                  <a:moveTo>
                    <a:pt x="0" y="105442"/>
                  </a:moveTo>
                  <a:lnTo>
                    <a:pt x="72771" y="188595"/>
                  </a:lnTo>
                  <a:lnTo>
                    <a:pt x="261461" y="0"/>
                  </a:lnTo>
                </a:path>
              </a:pathLst>
            </a:custGeom>
            <a:noFill/>
            <a:ln w="6350" cap="flat">
              <a:solidFill>
                <a:srgbClr val="26992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C1D5735-661B-9DBF-61E4-4C66A3CBF282}"/>
              </a:ext>
            </a:extLst>
          </p:cNvPr>
          <p:cNvGrpSpPr>
            <a:grpSpLocks noChangeAspect="1"/>
          </p:cNvGrpSpPr>
          <p:nvPr/>
        </p:nvGrpSpPr>
        <p:grpSpPr>
          <a:xfrm>
            <a:off x="8070662" y="4929271"/>
            <a:ext cx="466440" cy="466440"/>
            <a:chOff x="7985377" y="5119772"/>
            <a:chExt cx="620831" cy="620831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D18DFCF-7F81-5268-4ADB-CAD2E7F20B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5377" y="5119772"/>
              <a:ext cx="620831" cy="620831"/>
            </a:xfrm>
            <a:prstGeom prst="ellipse">
              <a:avLst/>
            </a:prstGeom>
            <a:noFill/>
            <a:ln w="6350">
              <a:solidFill>
                <a:srgbClr val="ED21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3508A57-15FD-C85F-DDDB-F7C0130108F0}"/>
                </a:ext>
              </a:extLst>
            </p:cNvPr>
            <p:cNvCxnSpPr>
              <a:stCxn id="18" idx="1"/>
              <a:endCxn id="18" idx="5"/>
            </p:cNvCxnSpPr>
            <p:nvPr/>
          </p:nvCxnSpPr>
          <p:spPr>
            <a:xfrm>
              <a:off x="8076296" y="5210691"/>
              <a:ext cx="438993" cy="438993"/>
            </a:xfrm>
            <a:prstGeom prst="line">
              <a:avLst/>
            </a:prstGeom>
            <a:ln w="6350">
              <a:solidFill>
                <a:srgbClr val="ED212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AA3F26F6-1C50-3A02-4647-CD96968DFE12}"/>
              </a:ext>
            </a:extLst>
          </p:cNvPr>
          <p:cNvSpPr txBox="1"/>
          <p:nvPr/>
        </p:nvSpPr>
        <p:spPr>
          <a:xfrm>
            <a:off x="7873340" y="3102384"/>
            <a:ext cx="861085" cy="4093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500" dirty="0"/>
              <a:t>Allow acces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E1B78A8-D222-6986-EC71-B92B1C1B6B8B}"/>
              </a:ext>
            </a:extLst>
          </p:cNvPr>
          <p:cNvSpPr txBox="1"/>
          <p:nvPr/>
        </p:nvSpPr>
        <p:spPr>
          <a:xfrm>
            <a:off x="7873340" y="4351274"/>
            <a:ext cx="861085" cy="4093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500" dirty="0"/>
              <a:t>Require MF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CE123CC-C225-D595-D131-6EFAFA300348}"/>
              </a:ext>
            </a:extLst>
          </p:cNvPr>
          <p:cNvSpPr txBox="1"/>
          <p:nvPr/>
        </p:nvSpPr>
        <p:spPr>
          <a:xfrm>
            <a:off x="7873340" y="5470405"/>
            <a:ext cx="861085" cy="4093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500" dirty="0"/>
              <a:t>Block acces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CF26CCB-5D4B-B73B-0333-E21E0EF891BE}"/>
              </a:ext>
            </a:extLst>
          </p:cNvPr>
          <p:cNvCxnSpPr>
            <a:cxnSpLocks/>
          </p:cNvCxnSpPr>
          <p:nvPr/>
        </p:nvCxnSpPr>
        <p:spPr>
          <a:xfrm flipV="1">
            <a:off x="8971909" y="3979435"/>
            <a:ext cx="967738" cy="4416"/>
          </a:xfrm>
          <a:prstGeom prst="line">
            <a:avLst/>
          </a:prstGeom>
          <a:ln w="63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D38893F-118C-FCF0-FCFD-493147C7BE56}"/>
              </a:ext>
            </a:extLst>
          </p:cNvPr>
          <p:cNvSpPr txBox="1"/>
          <p:nvPr/>
        </p:nvSpPr>
        <p:spPr>
          <a:xfrm>
            <a:off x="6922222" y="1330325"/>
            <a:ext cx="2585429" cy="406870"/>
          </a:xfrm>
          <a:prstGeom prst="rect">
            <a:avLst/>
          </a:prstGeom>
          <a:solidFill>
            <a:srgbClr val="ACEAF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Verify every access attempt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54C988C-F4C9-459A-3917-C828178C5000}"/>
              </a:ext>
            </a:extLst>
          </p:cNvPr>
          <p:cNvSpPr/>
          <p:nvPr/>
        </p:nvSpPr>
        <p:spPr>
          <a:xfrm>
            <a:off x="8668987" y="2766951"/>
            <a:ext cx="593766" cy="1223158"/>
          </a:xfrm>
          <a:custGeom>
            <a:avLst/>
            <a:gdLst>
              <a:gd name="connsiteX0" fmla="*/ 0 w 593766"/>
              <a:gd name="connsiteY0" fmla="*/ 0 h 1223158"/>
              <a:gd name="connsiteX1" fmla="*/ 593766 w 593766"/>
              <a:gd name="connsiteY1" fmla="*/ 0 h 1223158"/>
              <a:gd name="connsiteX2" fmla="*/ 593766 w 593766"/>
              <a:gd name="connsiteY2" fmla="*/ 1223158 h 1223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3766" h="1223158">
                <a:moveTo>
                  <a:pt x="0" y="0"/>
                </a:moveTo>
                <a:lnTo>
                  <a:pt x="593766" y="0"/>
                </a:lnTo>
                <a:lnTo>
                  <a:pt x="593766" y="1223158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02B9411-9A57-A769-EC14-AFDECCD3E440}"/>
              </a:ext>
            </a:extLst>
          </p:cNvPr>
          <p:cNvGrpSpPr/>
          <p:nvPr/>
        </p:nvGrpSpPr>
        <p:grpSpPr>
          <a:xfrm>
            <a:off x="10066017" y="3459861"/>
            <a:ext cx="1133797" cy="1020555"/>
            <a:chOff x="10066017" y="3481760"/>
            <a:chExt cx="1133797" cy="1020555"/>
          </a:xfrm>
        </p:grpSpPr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61766AEB-4305-2025-07DC-055E4E37074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67870" y="3481760"/>
              <a:ext cx="418805" cy="413885"/>
              <a:chOff x="9322743" y="2079021"/>
              <a:chExt cx="600075" cy="593026"/>
            </a:xfrm>
          </p:grpSpPr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881B581E-0089-BB49-F456-3AED3BF5CF7C}"/>
                  </a:ext>
                </a:extLst>
              </p:cNvPr>
              <p:cNvSpPr/>
              <p:nvPr/>
            </p:nvSpPr>
            <p:spPr>
              <a:xfrm>
                <a:off x="9322743" y="2079021"/>
                <a:ext cx="600075" cy="593026"/>
              </a:xfrm>
              <a:custGeom>
                <a:avLst/>
                <a:gdLst>
                  <a:gd name="connsiteX0" fmla="*/ 273368 w 600075"/>
                  <a:gd name="connsiteY0" fmla="*/ 18098 h 593026"/>
                  <a:gd name="connsiteX1" fmla="*/ 273368 w 600075"/>
                  <a:gd name="connsiteY1" fmla="*/ 275273 h 593026"/>
                  <a:gd name="connsiteX2" fmla="*/ 18002 w 600075"/>
                  <a:gd name="connsiteY2" fmla="*/ 275273 h 593026"/>
                  <a:gd name="connsiteX3" fmla="*/ 0 w 600075"/>
                  <a:gd name="connsiteY3" fmla="*/ 293370 h 593026"/>
                  <a:gd name="connsiteX4" fmla="*/ 0 w 600075"/>
                  <a:gd name="connsiteY4" fmla="*/ 593027 h 593026"/>
                  <a:gd name="connsiteX5" fmla="*/ 600075 w 600075"/>
                  <a:gd name="connsiteY5" fmla="*/ 593027 h 593026"/>
                  <a:gd name="connsiteX6" fmla="*/ 600075 w 600075"/>
                  <a:gd name="connsiteY6" fmla="*/ 18098 h 593026"/>
                  <a:gd name="connsiteX7" fmla="*/ 582073 w 600075"/>
                  <a:gd name="connsiteY7" fmla="*/ 0 h 593026"/>
                  <a:gd name="connsiteX8" fmla="*/ 291370 w 600075"/>
                  <a:gd name="connsiteY8" fmla="*/ 0 h 593026"/>
                  <a:gd name="connsiteX9" fmla="*/ 273367 w 600075"/>
                  <a:gd name="connsiteY9" fmla="*/ 18002 h 593026"/>
                  <a:gd name="connsiteX10" fmla="*/ 273368 w 600075"/>
                  <a:gd name="connsiteY10" fmla="*/ 18098 h 59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0075" h="593026">
                    <a:moveTo>
                      <a:pt x="273368" y="18098"/>
                    </a:moveTo>
                    <a:lnTo>
                      <a:pt x="273368" y="275273"/>
                    </a:lnTo>
                    <a:lnTo>
                      <a:pt x="18002" y="275273"/>
                    </a:lnTo>
                    <a:cubicBezTo>
                      <a:pt x="8044" y="275325"/>
                      <a:pt x="0" y="283412"/>
                      <a:pt x="0" y="293370"/>
                    </a:cubicBezTo>
                    <a:lnTo>
                      <a:pt x="0" y="593027"/>
                    </a:lnTo>
                    <a:lnTo>
                      <a:pt x="600075" y="593027"/>
                    </a:lnTo>
                    <a:lnTo>
                      <a:pt x="600075" y="18098"/>
                    </a:lnTo>
                    <a:cubicBezTo>
                      <a:pt x="600075" y="8140"/>
                      <a:pt x="592031" y="52"/>
                      <a:pt x="582073" y="0"/>
                    </a:cubicBezTo>
                    <a:lnTo>
                      <a:pt x="291370" y="0"/>
                    </a:lnTo>
                    <a:cubicBezTo>
                      <a:pt x="281427" y="0"/>
                      <a:pt x="273367" y="8060"/>
                      <a:pt x="273367" y="18002"/>
                    </a:cubicBezTo>
                    <a:cubicBezTo>
                      <a:pt x="273367" y="18034"/>
                      <a:pt x="273367" y="18066"/>
                      <a:pt x="273368" y="18098"/>
                    </a:cubicBezTo>
                    <a:close/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25020A5D-3D79-C550-5689-8B0C798F6759}"/>
                  </a:ext>
                </a:extLst>
              </p:cNvPr>
              <p:cNvSpPr/>
              <p:nvPr/>
            </p:nvSpPr>
            <p:spPr>
              <a:xfrm>
                <a:off x="9433518" y="2465831"/>
                <a:ext cx="138970" cy="206216"/>
              </a:xfrm>
              <a:custGeom>
                <a:avLst/>
                <a:gdLst>
                  <a:gd name="connsiteX0" fmla="*/ 7621 w 138970"/>
                  <a:gd name="connsiteY0" fmla="*/ 1 h 206216"/>
                  <a:gd name="connsiteX1" fmla="*/ 131446 w 138970"/>
                  <a:gd name="connsiteY1" fmla="*/ 1 h 206216"/>
                  <a:gd name="connsiteX2" fmla="*/ 138970 w 138970"/>
                  <a:gd name="connsiteY2" fmla="*/ 7525 h 206216"/>
                  <a:gd name="connsiteX3" fmla="*/ 138970 w 138970"/>
                  <a:gd name="connsiteY3" fmla="*/ 206217 h 206216"/>
                  <a:gd name="connsiteX4" fmla="*/ 138970 w 138970"/>
                  <a:gd name="connsiteY4" fmla="*/ 206217 h 206216"/>
                  <a:gd name="connsiteX5" fmla="*/ 1 w 138970"/>
                  <a:gd name="connsiteY5" fmla="*/ 206217 h 206216"/>
                  <a:gd name="connsiteX6" fmla="*/ 1 w 138970"/>
                  <a:gd name="connsiteY6" fmla="*/ 206217 h 206216"/>
                  <a:gd name="connsiteX7" fmla="*/ 1 w 138970"/>
                  <a:gd name="connsiteY7" fmla="*/ 7621 h 206216"/>
                  <a:gd name="connsiteX8" fmla="*/ 7429 w 138970"/>
                  <a:gd name="connsiteY8" fmla="*/ 1 h 206216"/>
                  <a:gd name="connsiteX9" fmla="*/ 7621 w 138970"/>
                  <a:gd name="connsiteY9" fmla="*/ 1 h 20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970" h="206216">
                    <a:moveTo>
                      <a:pt x="7621" y="1"/>
                    </a:moveTo>
                    <a:lnTo>
                      <a:pt x="131446" y="1"/>
                    </a:lnTo>
                    <a:cubicBezTo>
                      <a:pt x="135601" y="1"/>
                      <a:pt x="138970" y="3370"/>
                      <a:pt x="138970" y="7525"/>
                    </a:cubicBezTo>
                    <a:lnTo>
                      <a:pt x="138970" y="206217"/>
                    </a:lnTo>
                    <a:lnTo>
                      <a:pt x="138970" y="206217"/>
                    </a:lnTo>
                    <a:lnTo>
                      <a:pt x="1" y="206217"/>
                    </a:lnTo>
                    <a:lnTo>
                      <a:pt x="1" y="206217"/>
                    </a:lnTo>
                    <a:lnTo>
                      <a:pt x="1" y="7621"/>
                    </a:lnTo>
                    <a:cubicBezTo>
                      <a:pt x="-52" y="3465"/>
                      <a:pt x="3273" y="54"/>
                      <a:pt x="7429" y="1"/>
                    </a:cubicBezTo>
                    <a:cubicBezTo>
                      <a:pt x="7493" y="0"/>
                      <a:pt x="7557" y="0"/>
                      <a:pt x="7621" y="1"/>
                    </a:cubicBezTo>
                    <a:close/>
                  </a:path>
                </a:pathLst>
              </a:custGeom>
              <a:noFill/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D884B4A7-5AE2-91AF-C8F6-6B9B799B852E}"/>
                  </a:ext>
                </a:extLst>
              </p:cNvPr>
              <p:cNvSpPr/>
              <p:nvPr/>
            </p:nvSpPr>
            <p:spPr>
              <a:xfrm>
                <a:off x="9671738" y="2193607"/>
                <a:ext cx="48958" cy="48577"/>
              </a:xfrm>
              <a:custGeom>
                <a:avLst/>
                <a:gdLst>
                  <a:gd name="connsiteX0" fmla="*/ 0 w 48958"/>
                  <a:gd name="connsiteY0" fmla="*/ 0 h 48577"/>
                  <a:gd name="connsiteX1" fmla="*/ 48958 w 48958"/>
                  <a:gd name="connsiteY1" fmla="*/ 0 h 48577"/>
                  <a:gd name="connsiteX2" fmla="*/ 48958 w 48958"/>
                  <a:gd name="connsiteY2" fmla="*/ 48578 h 48577"/>
                  <a:gd name="connsiteX3" fmla="*/ 0 w 48958"/>
                  <a:gd name="connsiteY3" fmla="*/ 48578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8" h="48577">
                    <a:moveTo>
                      <a:pt x="0" y="0"/>
                    </a:moveTo>
                    <a:lnTo>
                      <a:pt x="48958" y="0"/>
                    </a:lnTo>
                    <a:lnTo>
                      <a:pt x="48958" y="48578"/>
                    </a:lnTo>
                    <a:lnTo>
                      <a:pt x="0" y="48578"/>
                    </a:ln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450C3B6D-144F-3EB2-ED98-2F672A3D1E4F}"/>
                  </a:ext>
                </a:extLst>
              </p:cNvPr>
              <p:cNvSpPr/>
              <p:nvPr/>
            </p:nvSpPr>
            <p:spPr>
              <a:xfrm>
                <a:off x="9797278" y="2193607"/>
                <a:ext cx="48863" cy="48577"/>
              </a:xfrm>
              <a:custGeom>
                <a:avLst/>
                <a:gdLst>
                  <a:gd name="connsiteX0" fmla="*/ 0 w 48863"/>
                  <a:gd name="connsiteY0" fmla="*/ 0 h 48577"/>
                  <a:gd name="connsiteX1" fmla="*/ 48863 w 48863"/>
                  <a:gd name="connsiteY1" fmla="*/ 0 h 48577"/>
                  <a:gd name="connsiteX2" fmla="*/ 48863 w 48863"/>
                  <a:gd name="connsiteY2" fmla="*/ 48578 h 48577"/>
                  <a:gd name="connsiteX3" fmla="*/ 0 w 48863"/>
                  <a:gd name="connsiteY3" fmla="*/ 48578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63" h="48577">
                    <a:moveTo>
                      <a:pt x="0" y="0"/>
                    </a:moveTo>
                    <a:lnTo>
                      <a:pt x="48863" y="0"/>
                    </a:lnTo>
                    <a:lnTo>
                      <a:pt x="48863" y="48578"/>
                    </a:lnTo>
                    <a:lnTo>
                      <a:pt x="0" y="48578"/>
                    </a:ln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95D9B029-883C-743A-3F1B-AD80241CF641}"/>
                  </a:ext>
                </a:extLst>
              </p:cNvPr>
              <p:cNvSpPr/>
              <p:nvPr/>
            </p:nvSpPr>
            <p:spPr>
              <a:xfrm>
                <a:off x="9671738" y="2330005"/>
                <a:ext cx="48958" cy="48863"/>
              </a:xfrm>
              <a:custGeom>
                <a:avLst/>
                <a:gdLst>
                  <a:gd name="connsiteX0" fmla="*/ 0 w 48958"/>
                  <a:gd name="connsiteY0" fmla="*/ 0 h 48863"/>
                  <a:gd name="connsiteX1" fmla="*/ 48958 w 48958"/>
                  <a:gd name="connsiteY1" fmla="*/ 0 h 48863"/>
                  <a:gd name="connsiteX2" fmla="*/ 48958 w 48958"/>
                  <a:gd name="connsiteY2" fmla="*/ 48863 h 48863"/>
                  <a:gd name="connsiteX3" fmla="*/ 0 w 48958"/>
                  <a:gd name="connsiteY3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8" h="48863">
                    <a:moveTo>
                      <a:pt x="0" y="0"/>
                    </a:moveTo>
                    <a:lnTo>
                      <a:pt x="48958" y="0"/>
                    </a:lnTo>
                    <a:lnTo>
                      <a:pt x="48958" y="48863"/>
                    </a:lnTo>
                    <a:lnTo>
                      <a:pt x="0" y="48863"/>
                    </a:ln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0ED3BECB-58B2-571B-BD4E-55063CE3FAC4}"/>
                  </a:ext>
                </a:extLst>
              </p:cNvPr>
              <p:cNvSpPr/>
              <p:nvPr/>
            </p:nvSpPr>
            <p:spPr>
              <a:xfrm>
                <a:off x="9797278" y="2330005"/>
                <a:ext cx="48863" cy="48863"/>
              </a:xfrm>
              <a:custGeom>
                <a:avLst/>
                <a:gdLst>
                  <a:gd name="connsiteX0" fmla="*/ 0 w 48863"/>
                  <a:gd name="connsiteY0" fmla="*/ 0 h 48863"/>
                  <a:gd name="connsiteX1" fmla="*/ 48863 w 48863"/>
                  <a:gd name="connsiteY1" fmla="*/ 0 h 48863"/>
                  <a:gd name="connsiteX2" fmla="*/ 48863 w 48863"/>
                  <a:gd name="connsiteY2" fmla="*/ 48863 h 48863"/>
                  <a:gd name="connsiteX3" fmla="*/ 0 w 48863"/>
                  <a:gd name="connsiteY3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63" h="48863">
                    <a:moveTo>
                      <a:pt x="0" y="0"/>
                    </a:moveTo>
                    <a:lnTo>
                      <a:pt x="48863" y="0"/>
                    </a:lnTo>
                    <a:lnTo>
                      <a:pt x="48863" y="48863"/>
                    </a:lnTo>
                    <a:lnTo>
                      <a:pt x="0" y="48863"/>
                    </a:ln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85463C63-68EE-15F5-F5F1-AFA46A354003}"/>
                  </a:ext>
                </a:extLst>
              </p:cNvPr>
              <p:cNvSpPr/>
              <p:nvPr/>
            </p:nvSpPr>
            <p:spPr>
              <a:xfrm>
                <a:off x="9671738" y="2466308"/>
                <a:ext cx="48958" cy="48863"/>
              </a:xfrm>
              <a:custGeom>
                <a:avLst/>
                <a:gdLst>
                  <a:gd name="connsiteX0" fmla="*/ 0 w 48958"/>
                  <a:gd name="connsiteY0" fmla="*/ 0 h 48863"/>
                  <a:gd name="connsiteX1" fmla="*/ 48958 w 48958"/>
                  <a:gd name="connsiteY1" fmla="*/ 0 h 48863"/>
                  <a:gd name="connsiteX2" fmla="*/ 48958 w 48958"/>
                  <a:gd name="connsiteY2" fmla="*/ 48863 h 48863"/>
                  <a:gd name="connsiteX3" fmla="*/ 0 w 48958"/>
                  <a:gd name="connsiteY3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8" h="48863">
                    <a:moveTo>
                      <a:pt x="0" y="0"/>
                    </a:moveTo>
                    <a:lnTo>
                      <a:pt x="48958" y="0"/>
                    </a:lnTo>
                    <a:lnTo>
                      <a:pt x="48958" y="48863"/>
                    </a:lnTo>
                    <a:lnTo>
                      <a:pt x="0" y="48863"/>
                    </a:ln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E904FFB7-58EC-CF7A-825B-0416CD7F4538}"/>
                  </a:ext>
                </a:extLst>
              </p:cNvPr>
              <p:cNvSpPr/>
              <p:nvPr/>
            </p:nvSpPr>
            <p:spPr>
              <a:xfrm>
                <a:off x="9797278" y="2466308"/>
                <a:ext cx="48863" cy="48863"/>
              </a:xfrm>
              <a:custGeom>
                <a:avLst/>
                <a:gdLst>
                  <a:gd name="connsiteX0" fmla="*/ 0 w 48863"/>
                  <a:gd name="connsiteY0" fmla="*/ 0 h 48863"/>
                  <a:gd name="connsiteX1" fmla="*/ 48863 w 48863"/>
                  <a:gd name="connsiteY1" fmla="*/ 0 h 48863"/>
                  <a:gd name="connsiteX2" fmla="*/ 48863 w 48863"/>
                  <a:gd name="connsiteY2" fmla="*/ 48863 h 48863"/>
                  <a:gd name="connsiteX3" fmla="*/ 0 w 48863"/>
                  <a:gd name="connsiteY3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63" h="48863">
                    <a:moveTo>
                      <a:pt x="0" y="0"/>
                    </a:moveTo>
                    <a:lnTo>
                      <a:pt x="48863" y="0"/>
                    </a:lnTo>
                    <a:lnTo>
                      <a:pt x="48863" y="48863"/>
                    </a:lnTo>
                    <a:lnTo>
                      <a:pt x="0" y="48863"/>
                    </a:ln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rgbClr val="00338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D63950C-7E98-FCAB-A033-54036AFB32D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66017" y="4172632"/>
              <a:ext cx="408222" cy="329683"/>
              <a:chOff x="9324743" y="4238815"/>
              <a:chExt cx="603504" cy="487394"/>
            </a:xfrm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2494ACEB-9577-A227-2AFC-3F78BB2C75F6}"/>
                  </a:ext>
                </a:extLst>
              </p:cNvPr>
              <p:cNvSpPr/>
              <p:nvPr/>
            </p:nvSpPr>
            <p:spPr>
              <a:xfrm>
                <a:off x="9406086" y="4452461"/>
                <a:ext cx="189071" cy="189071"/>
              </a:xfrm>
              <a:custGeom>
                <a:avLst/>
                <a:gdLst>
                  <a:gd name="connsiteX0" fmla="*/ 139732 w 189071"/>
                  <a:gd name="connsiteY0" fmla="*/ 0 h 189071"/>
                  <a:gd name="connsiteX1" fmla="*/ 189071 w 189071"/>
                  <a:gd name="connsiteY1" fmla="*/ 0 h 189071"/>
                  <a:gd name="connsiteX2" fmla="*/ 189071 w 189071"/>
                  <a:gd name="connsiteY2" fmla="*/ 189071 h 189071"/>
                  <a:gd name="connsiteX3" fmla="*/ 139732 w 189071"/>
                  <a:gd name="connsiteY3" fmla="*/ 189071 h 189071"/>
                  <a:gd name="connsiteX4" fmla="*/ 49339 w 189071"/>
                  <a:gd name="connsiteY4" fmla="*/ 189071 h 189071"/>
                  <a:gd name="connsiteX5" fmla="*/ 0 w 189071"/>
                  <a:gd name="connsiteY5" fmla="*/ 189071 h 189071"/>
                  <a:gd name="connsiteX6" fmla="*/ 0 w 189071"/>
                  <a:gd name="connsiteY6" fmla="*/ 0 h 189071"/>
                  <a:gd name="connsiteX7" fmla="*/ 49339 w 189071"/>
                  <a:gd name="connsiteY7" fmla="*/ 0 h 18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9071" h="189071">
                    <a:moveTo>
                      <a:pt x="139732" y="0"/>
                    </a:moveTo>
                    <a:cubicBezTo>
                      <a:pt x="166981" y="0"/>
                      <a:pt x="189071" y="0"/>
                      <a:pt x="189071" y="0"/>
                    </a:cubicBezTo>
                    <a:lnTo>
                      <a:pt x="189071" y="189071"/>
                    </a:lnTo>
                    <a:cubicBezTo>
                      <a:pt x="189071" y="189071"/>
                      <a:pt x="166981" y="189071"/>
                      <a:pt x="139732" y="189071"/>
                    </a:cubicBezTo>
                    <a:lnTo>
                      <a:pt x="49339" y="189071"/>
                    </a:lnTo>
                    <a:cubicBezTo>
                      <a:pt x="22090" y="189071"/>
                      <a:pt x="0" y="189071"/>
                      <a:pt x="0" y="189071"/>
                    </a:cubicBezTo>
                    <a:lnTo>
                      <a:pt x="0" y="0"/>
                    </a:lnTo>
                    <a:cubicBezTo>
                      <a:pt x="0" y="0"/>
                      <a:pt x="22090" y="0"/>
                      <a:pt x="4933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AF251B72-C645-3870-8DC7-DE4A5929F054}"/>
                  </a:ext>
                </a:extLst>
              </p:cNvPr>
              <p:cNvSpPr/>
              <p:nvPr/>
            </p:nvSpPr>
            <p:spPr>
              <a:xfrm>
                <a:off x="9669738" y="4471130"/>
                <a:ext cx="185832" cy="9525"/>
              </a:xfrm>
              <a:custGeom>
                <a:avLst/>
                <a:gdLst>
                  <a:gd name="connsiteX0" fmla="*/ 0 w 185832"/>
                  <a:gd name="connsiteY0" fmla="*/ 0 h 9525"/>
                  <a:gd name="connsiteX1" fmla="*/ 185833 w 18583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832" h="9525">
                    <a:moveTo>
                      <a:pt x="0" y="0"/>
                    </a:moveTo>
                    <a:lnTo>
                      <a:pt x="185833" y="0"/>
                    </a:lnTo>
                  </a:path>
                </a:pathLst>
              </a:custGeom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A87E8FB-88A8-022C-E972-AD77E45DC236}"/>
                  </a:ext>
                </a:extLst>
              </p:cNvPr>
              <p:cNvSpPr/>
              <p:nvPr/>
            </p:nvSpPr>
            <p:spPr>
              <a:xfrm>
                <a:off x="9669738" y="4545711"/>
                <a:ext cx="185832" cy="9525"/>
              </a:xfrm>
              <a:custGeom>
                <a:avLst/>
                <a:gdLst>
                  <a:gd name="connsiteX0" fmla="*/ 0 w 185832"/>
                  <a:gd name="connsiteY0" fmla="*/ 0 h 9525"/>
                  <a:gd name="connsiteX1" fmla="*/ 185833 w 18583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832" h="9525">
                    <a:moveTo>
                      <a:pt x="0" y="0"/>
                    </a:moveTo>
                    <a:lnTo>
                      <a:pt x="185833" y="0"/>
                    </a:lnTo>
                  </a:path>
                </a:pathLst>
              </a:custGeom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BFFE56C-C204-0603-872A-0C4117805B44}"/>
                  </a:ext>
                </a:extLst>
              </p:cNvPr>
              <p:cNvSpPr/>
              <p:nvPr/>
            </p:nvSpPr>
            <p:spPr>
              <a:xfrm>
                <a:off x="9669738" y="4620387"/>
                <a:ext cx="185832" cy="9525"/>
              </a:xfrm>
              <a:custGeom>
                <a:avLst/>
                <a:gdLst>
                  <a:gd name="connsiteX0" fmla="*/ 0 w 185832"/>
                  <a:gd name="connsiteY0" fmla="*/ 0 h 9525"/>
                  <a:gd name="connsiteX1" fmla="*/ 185833 w 18583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5832" h="9525">
                    <a:moveTo>
                      <a:pt x="0" y="0"/>
                    </a:moveTo>
                    <a:lnTo>
                      <a:pt x="185833" y="0"/>
                    </a:lnTo>
                  </a:path>
                </a:pathLst>
              </a:custGeom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843BB622-C13F-4316-DC03-8A6605EF1CA7}"/>
                  </a:ext>
                </a:extLst>
              </p:cNvPr>
              <p:cNvSpPr/>
              <p:nvPr/>
            </p:nvSpPr>
            <p:spPr>
              <a:xfrm>
                <a:off x="9324743" y="4238815"/>
                <a:ext cx="603504" cy="487394"/>
              </a:xfrm>
              <a:custGeom>
                <a:avLst/>
                <a:gdLst>
                  <a:gd name="connsiteX0" fmla="*/ 563213 w 603504"/>
                  <a:gd name="connsiteY0" fmla="*/ 0 h 487394"/>
                  <a:gd name="connsiteX1" fmla="*/ 603504 w 603504"/>
                  <a:gd name="connsiteY1" fmla="*/ 0 h 487394"/>
                  <a:gd name="connsiteX2" fmla="*/ 603504 w 603504"/>
                  <a:gd name="connsiteY2" fmla="*/ 487394 h 487394"/>
                  <a:gd name="connsiteX3" fmla="*/ 563213 w 603504"/>
                  <a:gd name="connsiteY3" fmla="*/ 487394 h 487394"/>
                  <a:gd name="connsiteX4" fmla="*/ 40291 w 603504"/>
                  <a:gd name="connsiteY4" fmla="*/ 487394 h 487394"/>
                  <a:gd name="connsiteX5" fmla="*/ 0 w 603504"/>
                  <a:gd name="connsiteY5" fmla="*/ 487394 h 487394"/>
                  <a:gd name="connsiteX6" fmla="*/ 0 w 603504"/>
                  <a:gd name="connsiteY6" fmla="*/ 0 h 487394"/>
                  <a:gd name="connsiteX7" fmla="*/ 40291 w 603504"/>
                  <a:gd name="connsiteY7" fmla="*/ 0 h 487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3504" h="487394">
                    <a:moveTo>
                      <a:pt x="563213" y="0"/>
                    </a:moveTo>
                    <a:cubicBezTo>
                      <a:pt x="585465" y="0"/>
                      <a:pt x="603504" y="0"/>
                      <a:pt x="603504" y="0"/>
                    </a:cubicBezTo>
                    <a:lnTo>
                      <a:pt x="603504" y="487394"/>
                    </a:lnTo>
                    <a:cubicBezTo>
                      <a:pt x="603504" y="487394"/>
                      <a:pt x="585465" y="487394"/>
                      <a:pt x="563213" y="487394"/>
                    </a:cubicBezTo>
                    <a:lnTo>
                      <a:pt x="40291" y="487394"/>
                    </a:lnTo>
                    <a:cubicBezTo>
                      <a:pt x="18039" y="487394"/>
                      <a:pt x="0" y="487394"/>
                      <a:pt x="0" y="487394"/>
                    </a:cubicBezTo>
                    <a:lnTo>
                      <a:pt x="0" y="0"/>
                    </a:lnTo>
                    <a:cubicBezTo>
                      <a:pt x="0" y="0"/>
                      <a:pt x="18039" y="0"/>
                      <a:pt x="40291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42DF5E5-9738-09C2-F6FB-50FDBC093EEB}"/>
                  </a:ext>
                </a:extLst>
              </p:cNvPr>
              <p:cNvSpPr/>
              <p:nvPr/>
            </p:nvSpPr>
            <p:spPr>
              <a:xfrm>
                <a:off x="9329220" y="4367593"/>
                <a:ext cx="597312" cy="9525"/>
              </a:xfrm>
              <a:custGeom>
                <a:avLst/>
                <a:gdLst>
                  <a:gd name="connsiteX0" fmla="*/ 0 w 597312"/>
                  <a:gd name="connsiteY0" fmla="*/ 0 h 9525"/>
                  <a:gd name="connsiteX1" fmla="*/ 597313 w 597312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7312" h="9525">
                    <a:moveTo>
                      <a:pt x="0" y="0"/>
                    </a:moveTo>
                    <a:lnTo>
                      <a:pt x="597313" y="0"/>
                    </a:lnTo>
                  </a:path>
                </a:pathLst>
              </a:custGeom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FF02999F-3FA1-D94C-4C90-FC34FAB4BF85}"/>
                  </a:ext>
                </a:extLst>
              </p:cNvPr>
              <p:cNvSpPr/>
              <p:nvPr/>
            </p:nvSpPr>
            <p:spPr>
              <a:xfrm>
                <a:off x="9383036" y="4291203"/>
                <a:ext cx="26479" cy="26479"/>
              </a:xfrm>
              <a:custGeom>
                <a:avLst/>
                <a:gdLst>
                  <a:gd name="connsiteX0" fmla="*/ 26480 w 26479"/>
                  <a:gd name="connsiteY0" fmla="*/ 13240 h 26479"/>
                  <a:gd name="connsiteX1" fmla="*/ 13240 w 26479"/>
                  <a:gd name="connsiteY1" fmla="*/ 26479 h 26479"/>
                  <a:gd name="connsiteX2" fmla="*/ 0 w 26479"/>
                  <a:gd name="connsiteY2" fmla="*/ 13240 h 26479"/>
                  <a:gd name="connsiteX3" fmla="*/ 13240 w 26479"/>
                  <a:gd name="connsiteY3" fmla="*/ 0 h 26479"/>
                  <a:gd name="connsiteX4" fmla="*/ 26480 w 26479"/>
                  <a:gd name="connsiteY4" fmla="*/ 13240 h 2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79" h="26479">
                    <a:moveTo>
                      <a:pt x="26480" y="13240"/>
                    </a:moveTo>
                    <a:cubicBezTo>
                      <a:pt x="26480" y="20552"/>
                      <a:pt x="20552" y="26479"/>
                      <a:pt x="13240" y="26479"/>
                    </a:cubicBezTo>
                    <a:cubicBezTo>
                      <a:pt x="5928" y="26479"/>
                      <a:pt x="0" y="20552"/>
                      <a:pt x="0" y="13240"/>
                    </a:cubicBezTo>
                    <a:cubicBezTo>
                      <a:pt x="0" y="5928"/>
                      <a:pt x="5928" y="0"/>
                      <a:pt x="13240" y="0"/>
                    </a:cubicBezTo>
                    <a:cubicBezTo>
                      <a:pt x="20552" y="0"/>
                      <a:pt x="26480" y="5928"/>
                      <a:pt x="26480" y="13240"/>
                    </a:cubicBez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8F2C8AFC-F344-39C0-B99D-4F8288791093}"/>
                  </a:ext>
                </a:extLst>
              </p:cNvPr>
              <p:cNvSpPr/>
              <p:nvPr/>
            </p:nvSpPr>
            <p:spPr>
              <a:xfrm>
                <a:off x="9440662" y="4291203"/>
                <a:ext cx="26479" cy="26479"/>
              </a:xfrm>
              <a:custGeom>
                <a:avLst/>
                <a:gdLst>
                  <a:gd name="connsiteX0" fmla="*/ 26479 w 26479"/>
                  <a:gd name="connsiteY0" fmla="*/ 13240 h 26479"/>
                  <a:gd name="connsiteX1" fmla="*/ 13240 w 26479"/>
                  <a:gd name="connsiteY1" fmla="*/ 26479 h 26479"/>
                  <a:gd name="connsiteX2" fmla="*/ 0 w 26479"/>
                  <a:gd name="connsiteY2" fmla="*/ 13240 h 26479"/>
                  <a:gd name="connsiteX3" fmla="*/ 13240 w 26479"/>
                  <a:gd name="connsiteY3" fmla="*/ 0 h 26479"/>
                  <a:gd name="connsiteX4" fmla="*/ 26479 w 26479"/>
                  <a:gd name="connsiteY4" fmla="*/ 13240 h 2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79" h="26479">
                    <a:moveTo>
                      <a:pt x="26479" y="13240"/>
                    </a:moveTo>
                    <a:cubicBezTo>
                      <a:pt x="26479" y="20552"/>
                      <a:pt x="20552" y="26479"/>
                      <a:pt x="13240" y="26479"/>
                    </a:cubicBezTo>
                    <a:cubicBezTo>
                      <a:pt x="5928" y="26479"/>
                      <a:pt x="0" y="20552"/>
                      <a:pt x="0" y="13240"/>
                    </a:cubicBezTo>
                    <a:cubicBezTo>
                      <a:pt x="0" y="5928"/>
                      <a:pt x="5928" y="0"/>
                      <a:pt x="13240" y="0"/>
                    </a:cubicBezTo>
                    <a:cubicBezTo>
                      <a:pt x="20552" y="0"/>
                      <a:pt x="26479" y="5928"/>
                      <a:pt x="26479" y="13240"/>
                    </a:cubicBez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5BBD694-B334-20A7-516F-FD4B295CA021}"/>
                  </a:ext>
                </a:extLst>
              </p:cNvPr>
              <p:cNvSpPr/>
              <p:nvPr/>
            </p:nvSpPr>
            <p:spPr>
              <a:xfrm>
                <a:off x="9498288" y="4291203"/>
                <a:ext cx="26479" cy="26479"/>
              </a:xfrm>
              <a:custGeom>
                <a:avLst/>
                <a:gdLst>
                  <a:gd name="connsiteX0" fmla="*/ 26480 w 26479"/>
                  <a:gd name="connsiteY0" fmla="*/ 13240 h 26479"/>
                  <a:gd name="connsiteX1" fmla="*/ 13240 w 26479"/>
                  <a:gd name="connsiteY1" fmla="*/ 26479 h 26479"/>
                  <a:gd name="connsiteX2" fmla="*/ 0 w 26479"/>
                  <a:gd name="connsiteY2" fmla="*/ 13240 h 26479"/>
                  <a:gd name="connsiteX3" fmla="*/ 13240 w 26479"/>
                  <a:gd name="connsiteY3" fmla="*/ 0 h 26479"/>
                  <a:gd name="connsiteX4" fmla="*/ 26480 w 26479"/>
                  <a:gd name="connsiteY4" fmla="*/ 13240 h 2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79" h="26479">
                    <a:moveTo>
                      <a:pt x="26480" y="13240"/>
                    </a:moveTo>
                    <a:cubicBezTo>
                      <a:pt x="26480" y="20552"/>
                      <a:pt x="20552" y="26479"/>
                      <a:pt x="13240" y="26479"/>
                    </a:cubicBezTo>
                    <a:cubicBezTo>
                      <a:pt x="5928" y="26479"/>
                      <a:pt x="0" y="20552"/>
                      <a:pt x="0" y="13240"/>
                    </a:cubicBezTo>
                    <a:cubicBezTo>
                      <a:pt x="0" y="5928"/>
                      <a:pt x="5928" y="0"/>
                      <a:pt x="13240" y="0"/>
                    </a:cubicBezTo>
                    <a:cubicBezTo>
                      <a:pt x="20552" y="0"/>
                      <a:pt x="26480" y="5928"/>
                      <a:pt x="26480" y="13240"/>
                    </a:cubicBezTo>
                    <a:close/>
                  </a:path>
                </a:pathLst>
              </a:custGeom>
              <a:solidFill>
                <a:srgbClr val="00338D"/>
              </a:solidFill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821BD271-ECD3-A248-BFC3-8936F9005A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28761" y="4185023"/>
              <a:ext cx="420255" cy="296269"/>
              <a:chOff x="2515221" y="2805443"/>
              <a:chExt cx="1318940" cy="929822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8F20F5C-1562-5EFD-95EA-A6E3E2A7737E}"/>
                  </a:ext>
                </a:extLst>
              </p:cNvPr>
              <p:cNvSpPr/>
              <p:nvPr/>
            </p:nvSpPr>
            <p:spPr>
              <a:xfrm>
                <a:off x="2515221" y="2805443"/>
                <a:ext cx="1318940" cy="929821"/>
              </a:xfrm>
              <a:custGeom>
                <a:avLst/>
                <a:gdLst>
                  <a:gd name="connsiteX0" fmla="*/ 863626 w 1318940"/>
                  <a:gd name="connsiteY0" fmla="*/ 929822 h 929821"/>
                  <a:gd name="connsiteX1" fmla="*/ 1035134 w 1318940"/>
                  <a:gd name="connsiteY1" fmla="*/ 929822 h 929821"/>
                  <a:gd name="connsiteX2" fmla="*/ 1318940 w 1318940"/>
                  <a:gd name="connsiteY2" fmla="*/ 646016 h 929821"/>
                  <a:gd name="connsiteX3" fmla="*/ 1063719 w 1318940"/>
                  <a:gd name="connsiteY3" fmla="*/ 362210 h 929821"/>
                  <a:gd name="connsiteX4" fmla="*/ 612488 w 1318940"/>
                  <a:gd name="connsiteY4" fmla="*/ 2859 h 929821"/>
                  <a:gd name="connsiteX5" fmla="*/ 253137 w 1318940"/>
                  <a:gd name="connsiteY5" fmla="*/ 362210 h 929821"/>
                  <a:gd name="connsiteX6" fmla="*/ 1999 w 1318940"/>
                  <a:gd name="connsiteY6" fmla="*/ 674601 h 929821"/>
                  <a:gd name="connsiteX7" fmla="*/ 285805 w 1318940"/>
                  <a:gd name="connsiteY7" fmla="*/ 929822 h 929821"/>
                  <a:gd name="connsiteX8" fmla="*/ 424645 w 1318940"/>
                  <a:gd name="connsiteY8" fmla="*/ 929822 h 92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8940" h="929821">
                    <a:moveTo>
                      <a:pt x="863626" y="929822"/>
                    </a:moveTo>
                    <a:cubicBezTo>
                      <a:pt x="1035134" y="929822"/>
                      <a:pt x="1035134" y="929822"/>
                      <a:pt x="1035134" y="929822"/>
                    </a:cubicBezTo>
                    <a:cubicBezTo>
                      <a:pt x="1194392" y="929822"/>
                      <a:pt x="1318940" y="799149"/>
                      <a:pt x="1318940" y="646016"/>
                    </a:cubicBezTo>
                    <a:cubicBezTo>
                      <a:pt x="1318940" y="501050"/>
                      <a:pt x="1206643" y="380586"/>
                      <a:pt x="1063719" y="362210"/>
                    </a:cubicBezTo>
                    <a:cubicBezTo>
                      <a:pt x="1035134" y="137615"/>
                      <a:pt x="835041" y="-23684"/>
                      <a:pt x="612488" y="2859"/>
                    </a:cubicBezTo>
                    <a:cubicBezTo>
                      <a:pt x="426687" y="25318"/>
                      <a:pt x="277638" y="174367"/>
                      <a:pt x="253137" y="362210"/>
                    </a:cubicBezTo>
                    <a:cubicBezTo>
                      <a:pt x="93879" y="380586"/>
                      <a:pt x="-16377" y="519426"/>
                      <a:pt x="1999" y="674601"/>
                    </a:cubicBezTo>
                    <a:cubicBezTo>
                      <a:pt x="16291" y="819566"/>
                      <a:pt x="136756" y="925738"/>
                      <a:pt x="285805" y="929822"/>
                    </a:cubicBezTo>
                    <a:cubicBezTo>
                      <a:pt x="424645" y="929822"/>
                      <a:pt x="424645" y="929822"/>
                      <a:pt x="424645" y="929822"/>
                    </a:cubicBezTo>
                  </a:path>
                </a:pathLst>
              </a:custGeom>
              <a:noFill/>
              <a:ln w="6350" cap="sq">
                <a:solidFill>
                  <a:srgbClr val="0033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127B431A-B629-CC20-E41B-19E67EF424F6}"/>
                  </a:ext>
                </a:extLst>
              </p:cNvPr>
              <p:cNvCxnSpPr>
                <a:cxnSpLocks/>
                <a:endCxn id="61" idx="0"/>
              </p:cNvCxnSpPr>
              <p:nvPr/>
            </p:nvCxnSpPr>
            <p:spPr>
              <a:xfrm>
                <a:off x="2940844" y="3735264"/>
                <a:ext cx="438003" cy="1"/>
              </a:xfrm>
              <a:prstGeom prst="line">
                <a:avLst/>
              </a:prstGeom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968FA8E-2CD3-BCC8-9D21-7CCE35B8BFA5}"/>
                </a:ext>
              </a:extLst>
            </p:cNvPr>
            <p:cNvSpPr txBox="1"/>
            <p:nvPr/>
          </p:nvSpPr>
          <p:spPr>
            <a:xfrm>
              <a:off x="10591800" y="3481760"/>
              <a:ext cx="608014" cy="413885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solidFill>
                    <a:schemeClr val="tx2"/>
                  </a:solidFill>
                </a:rPr>
                <a:t>101010</a:t>
              </a:r>
              <a:br>
                <a:rPr lang="en-US" sz="1000" b="1" dirty="0">
                  <a:solidFill>
                    <a:schemeClr val="tx2"/>
                  </a:solidFill>
                </a:rPr>
              </a:br>
              <a:r>
                <a:rPr lang="en-US" sz="1000" b="1" dirty="0">
                  <a:solidFill>
                    <a:schemeClr val="tx2"/>
                  </a:solidFill>
                </a:rPr>
                <a:t>010101</a:t>
              </a:r>
              <a:br>
                <a:rPr lang="en-US" sz="1000" b="1" dirty="0">
                  <a:solidFill>
                    <a:schemeClr val="tx2"/>
                  </a:solidFill>
                </a:rPr>
              </a:br>
              <a:r>
                <a:rPr lang="en-US" sz="1000" b="1" dirty="0">
                  <a:solidFill>
                    <a:schemeClr val="tx2"/>
                  </a:solidFill>
                </a:rPr>
                <a:t>101010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3911AC37-EB47-0878-355D-6EC10D5E39DD}"/>
              </a:ext>
            </a:extLst>
          </p:cNvPr>
          <p:cNvSpPr txBox="1"/>
          <p:nvPr/>
        </p:nvSpPr>
        <p:spPr>
          <a:xfrm>
            <a:off x="9690265" y="1330325"/>
            <a:ext cx="1509548" cy="406870"/>
          </a:xfrm>
          <a:prstGeom prst="rect">
            <a:avLst/>
          </a:prstGeom>
          <a:solidFill>
            <a:srgbClr val="ACEAFF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Apps and data</a:t>
            </a:r>
          </a:p>
        </p:txBody>
      </p:sp>
    </p:spTree>
    <p:extLst>
      <p:ext uri="{BB962C8B-B14F-4D97-AF65-F5344CB8AC3E}">
        <p14:creationId xmlns:p14="http://schemas.microsoft.com/office/powerpoint/2010/main" val="4155180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72AFB2-394B-F0FE-1818-0F16CF381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</p:spPr>
        <p:txBody>
          <a:bodyPr/>
          <a:lstStyle/>
          <a:p>
            <a:r>
              <a:rPr lang="en-US" dirty="0"/>
              <a:t>Choose authentication methods for MF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28FAFE7-410B-F477-B596-FDC4B958D447}"/>
              </a:ext>
            </a:extLst>
          </p:cNvPr>
          <p:cNvSpPr txBox="1"/>
          <p:nvPr/>
        </p:nvSpPr>
        <p:spPr>
          <a:xfrm>
            <a:off x="1527638" y="2275231"/>
            <a:ext cx="1099901" cy="1893500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dirty="0"/>
              <a:t>123456</a:t>
            </a:r>
          </a:p>
          <a:p>
            <a:pPr algn="l">
              <a:spcAft>
                <a:spcPts val="1000"/>
              </a:spcAft>
            </a:pPr>
            <a:r>
              <a:rPr lang="en-US" sz="1600" dirty="0"/>
              <a:t>qwerty</a:t>
            </a:r>
          </a:p>
          <a:p>
            <a:pPr algn="l">
              <a:spcAft>
                <a:spcPts val="1000"/>
              </a:spcAft>
            </a:pPr>
            <a:r>
              <a:rPr lang="en-US" sz="1600" dirty="0"/>
              <a:t>password</a:t>
            </a:r>
          </a:p>
          <a:p>
            <a:pPr algn="l">
              <a:spcAft>
                <a:spcPts val="1000"/>
              </a:spcAft>
            </a:pPr>
            <a:r>
              <a:rPr lang="en-US" sz="1600" dirty="0"/>
              <a:t>iloveyou</a:t>
            </a:r>
          </a:p>
          <a:p>
            <a:pPr algn="l">
              <a:spcAft>
                <a:spcPts val="1000"/>
              </a:spcAft>
            </a:pPr>
            <a:r>
              <a:rPr lang="en-US" sz="1600" dirty="0"/>
              <a:t>Password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4700D-1D03-42D2-42E4-3DBF529C5F97}"/>
              </a:ext>
            </a:extLst>
          </p:cNvPr>
          <p:cNvSpPr txBox="1"/>
          <p:nvPr/>
        </p:nvSpPr>
        <p:spPr>
          <a:xfrm>
            <a:off x="1244979" y="1324762"/>
            <a:ext cx="1533249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b="1" dirty="0">
                <a:solidFill>
                  <a:schemeClr val="tx2"/>
                </a:solidFill>
              </a:rPr>
              <a:t>Bad: </a:t>
            </a:r>
            <a:r>
              <a:rPr lang="en-US" sz="1600" dirty="0"/>
              <a:t>Passwor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724D49-E06C-E058-9DF0-AFA0AB943E07}"/>
              </a:ext>
            </a:extLst>
          </p:cNvPr>
          <p:cNvSpPr txBox="1"/>
          <p:nvPr/>
        </p:nvSpPr>
        <p:spPr>
          <a:xfrm>
            <a:off x="3737704" y="1324762"/>
            <a:ext cx="1695101" cy="4678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Good: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dirty="0"/>
              <a:t>Password</a:t>
            </a:r>
            <a:br>
              <a:rPr lang="en-US" sz="1600" dirty="0"/>
            </a:br>
            <a:r>
              <a:rPr lang="en-US" sz="1200" dirty="0"/>
              <a:t>and…</a:t>
            </a:r>
            <a:endParaRPr 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4BDC58-0F30-6EB5-34CB-81EE752F1745}"/>
              </a:ext>
            </a:extLst>
          </p:cNvPr>
          <p:cNvSpPr txBox="1"/>
          <p:nvPr/>
        </p:nvSpPr>
        <p:spPr>
          <a:xfrm>
            <a:off x="6355384" y="1324762"/>
            <a:ext cx="1757753" cy="4678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b="1" dirty="0">
                <a:solidFill>
                  <a:schemeClr val="accent4"/>
                </a:solidFill>
              </a:rPr>
              <a:t>Better: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dirty="0"/>
              <a:t>Password</a:t>
            </a:r>
            <a:br>
              <a:rPr lang="en-US" sz="1600" dirty="0"/>
            </a:br>
            <a:r>
              <a:rPr lang="en-US" sz="1200" dirty="0"/>
              <a:t>and…</a:t>
            </a:r>
            <a:endParaRPr lang="en-US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99BCC2-B0AE-FADC-62F6-4EA33D034421}"/>
              </a:ext>
            </a:extLst>
          </p:cNvPr>
          <p:cNvSpPr txBox="1"/>
          <p:nvPr/>
        </p:nvSpPr>
        <p:spPr>
          <a:xfrm>
            <a:off x="8933496" y="1324762"/>
            <a:ext cx="1990960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b="1" dirty="0">
                <a:solidFill>
                  <a:schemeClr val="accent5"/>
                </a:solidFill>
              </a:rPr>
              <a:t>Best: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dirty="0"/>
              <a:t>Passwordles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9049881-4122-BC1F-849B-72C803201D68}"/>
              </a:ext>
            </a:extLst>
          </p:cNvPr>
          <p:cNvCxnSpPr/>
          <p:nvPr/>
        </p:nvCxnSpPr>
        <p:spPr>
          <a:xfrm>
            <a:off x="995364" y="1818738"/>
            <a:ext cx="10204704" cy="0"/>
          </a:xfrm>
          <a:prstGeom prst="line">
            <a:avLst/>
          </a:prstGeom>
          <a:ln w="635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5135DA-7C04-E19C-5DA0-A13EF0E5B393}"/>
              </a:ext>
            </a:extLst>
          </p:cNvPr>
          <p:cNvCxnSpPr/>
          <p:nvPr/>
        </p:nvCxnSpPr>
        <p:spPr>
          <a:xfrm>
            <a:off x="3397095" y="1965805"/>
            <a:ext cx="0" cy="3926996"/>
          </a:xfrm>
          <a:prstGeom prst="line">
            <a:avLst/>
          </a:prstGeom>
          <a:ln w="635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1B42F67-ED9D-FBCE-A8B3-56ED6B1D964C}"/>
              </a:ext>
            </a:extLst>
          </p:cNvPr>
          <p:cNvCxnSpPr/>
          <p:nvPr/>
        </p:nvCxnSpPr>
        <p:spPr>
          <a:xfrm>
            <a:off x="6070206" y="1965805"/>
            <a:ext cx="0" cy="3926996"/>
          </a:xfrm>
          <a:prstGeom prst="line">
            <a:avLst/>
          </a:prstGeom>
          <a:ln w="635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68CF113-6964-38FF-676C-D6CDE1AAF6EB}"/>
              </a:ext>
            </a:extLst>
          </p:cNvPr>
          <p:cNvCxnSpPr/>
          <p:nvPr/>
        </p:nvCxnSpPr>
        <p:spPr>
          <a:xfrm>
            <a:off x="8739017" y="1965805"/>
            <a:ext cx="0" cy="3926996"/>
          </a:xfrm>
          <a:prstGeom prst="line">
            <a:avLst/>
          </a:prstGeom>
          <a:ln w="635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79E3092-C3A6-20A5-5F6E-A1FFF0747A79}"/>
              </a:ext>
            </a:extLst>
          </p:cNvPr>
          <p:cNvGrpSpPr>
            <a:grpSpLocks noChangeAspect="1"/>
          </p:cNvGrpSpPr>
          <p:nvPr/>
        </p:nvGrpSpPr>
        <p:grpSpPr>
          <a:xfrm>
            <a:off x="4339818" y="2154550"/>
            <a:ext cx="490872" cy="465698"/>
            <a:chOff x="1151668" y="5179980"/>
            <a:chExt cx="601789" cy="570928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735E89F-CDCC-39B6-B283-EC58DAF5EEA1}"/>
                </a:ext>
              </a:extLst>
            </p:cNvPr>
            <p:cNvSpPr/>
            <p:nvPr/>
          </p:nvSpPr>
          <p:spPr>
            <a:xfrm>
              <a:off x="1151668" y="5179980"/>
              <a:ext cx="601789" cy="570928"/>
            </a:xfrm>
            <a:custGeom>
              <a:avLst/>
              <a:gdLst>
                <a:gd name="connsiteX0" fmla="*/ 277940 w 601789"/>
                <a:gd name="connsiteY0" fmla="*/ 417671 h 570928"/>
                <a:gd name="connsiteX1" fmla="*/ 74200 w 601789"/>
                <a:gd name="connsiteY1" fmla="*/ 417671 h 570928"/>
                <a:gd name="connsiteX2" fmla="*/ 0 w 601789"/>
                <a:gd name="connsiteY2" fmla="*/ 343472 h 570928"/>
                <a:gd name="connsiteX3" fmla="*/ 0 w 601789"/>
                <a:gd name="connsiteY3" fmla="*/ 74200 h 570928"/>
                <a:gd name="connsiteX4" fmla="*/ 74200 w 601789"/>
                <a:gd name="connsiteY4" fmla="*/ 0 h 570928"/>
                <a:gd name="connsiteX5" fmla="*/ 527590 w 601789"/>
                <a:gd name="connsiteY5" fmla="*/ 0 h 570928"/>
                <a:gd name="connsiteX6" fmla="*/ 601789 w 601789"/>
                <a:gd name="connsiteY6" fmla="*/ 74200 h 570928"/>
                <a:gd name="connsiteX7" fmla="*/ 601789 w 601789"/>
                <a:gd name="connsiteY7" fmla="*/ 343472 h 570928"/>
                <a:gd name="connsiteX8" fmla="*/ 527590 w 601789"/>
                <a:gd name="connsiteY8" fmla="*/ 417671 h 570928"/>
                <a:gd name="connsiteX9" fmla="*/ 415576 w 601789"/>
                <a:gd name="connsiteY9" fmla="*/ 417671 h 570928"/>
                <a:gd name="connsiteX10" fmla="*/ 320707 w 601789"/>
                <a:gd name="connsiteY10" fmla="*/ 570929 h 57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1789" h="570928">
                  <a:moveTo>
                    <a:pt x="277940" y="417671"/>
                  </a:moveTo>
                  <a:lnTo>
                    <a:pt x="74200" y="417671"/>
                  </a:lnTo>
                  <a:cubicBezTo>
                    <a:pt x="33242" y="417671"/>
                    <a:pt x="0" y="384429"/>
                    <a:pt x="0" y="343472"/>
                  </a:cubicBezTo>
                  <a:lnTo>
                    <a:pt x="0" y="74200"/>
                  </a:lnTo>
                  <a:cubicBezTo>
                    <a:pt x="0" y="33242"/>
                    <a:pt x="33242" y="0"/>
                    <a:pt x="74200" y="0"/>
                  </a:cubicBezTo>
                  <a:lnTo>
                    <a:pt x="527590" y="0"/>
                  </a:lnTo>
                  <a:cubicBezTo>
                    <a:pt x="568547" y="0"/>
                    <a:pt x="601789" y="33242"/>
                    <a:pt x="601789" y="74200"/>
                  </a:cubicBezTo>
                  <a:lnTo>
                    <a:pt x="601789" y="343472"/>
                  </a:lnTo>
                  <a:cubicBezTo>
                    <a:pt x="601789" y="384429"/>
                    <a:pt x="568547" y="417671"/>
                    <a:pt x="527590" y="417671"/>
                  </a:cubicBezTo>
                  <a:lnTo>
                    <a:pt x="415576" y="417671"/>
                  </a:lnTo>
                  <a:lnTo>
                    <a:pt x="320707" y="570929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1C8682-42D4-A9BB-90EB-44D1B3DE2830}"/>
                </a:ext>
              </a:extLst>
            </p:cNvPr>
            <p:cNvSpPr/>
            <p:nvPr/>
          </p:nvSpPr>
          <p:spPr>
            <a:xfrm>
              <a:off x="1265206" y="5457920"/>
              <a:ext cx="234886" cy="9525"/>
            </a:xfrm>
            <a:custGeom>
              <a:avLst/>
              <a:gdLst>
                <a:gd name="connsiteX0" fmla="*/ 0 w 234886"/>
                <a:gd name="connsiteY0" fmla="*/ 0 h 9525"/>
                <a:gd name="connsiteX1" fmla="*/ 234887 w 23488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886" h="9525">
                  <a:moveTo>
                    <a:pt x="0" y="0"/>
                  </a:moveTo>
                  <a:lnTo>
                    <a:pt x="234887" y="0"/>
                  </a:lnTo>
                </a:path>
              </a:pathLst>
            </a:custGeom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B05B2E7-B8C6-7953-12E6-B101732708AE}"/>
                </a:ext>
              </a:extLst>
            </p:cNvPr>
            <p:cNvSpPr/>
            <p:nvPr/>
          </p:nvSpPr>
          <p:spPr>
            <a:xfrm>
              <a:off x="1265206" y="5316950"/>
              <a:ext cx="375951" cy="9525"/>
            </a:xfrm>
            <a:custGeom>
              <a:avLst/>
              <a:gdLst>
                <a:gd name="connsiteX0" fmla="*/ 0 w 375951"/>
                <a:gd name="connsiteY0" fmla="*/ 0 h 9525"/>
                <a:gd name="connsiteX1" fmla="*/ 375952 w 37595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5951" h="9525">
                  <a:moveTo>
                    <a:pt x="0" y="0"/>
                  </a:moveTo>
                  <a:lnTo>
                    <a:pt x="375952" y="0"/>
                  </a:lnTo>
                </a:path>
              </a:pathLst>
            </a:custGeom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5FC24BE-0934-0BDF-0EDF-10162A4C4A9A}"/>
              </a:ext>
            </a:extLst>
          </p:cNvPr>
          <p:cNvSpPr txBox="1"/>
          <p:nvPr/>
        </p:nvSpPr>
        <p:spPr>
          <a:xfrm>
            <a:off x="4344215" y="2652233"/>
            <a:ext cx="482077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dirty="0"/>
              <a:t>SM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3E3188-0492-B354-7D2C-8385CBD0E17C}"/>
              </a:ext>
            </a:extLst>
          </p:cNvPr>
          <p:cNvSpPr txBox="1"/>
          <p:nvPr/>
        </p:nvSpPr>
        <p:spPr>
          <a:xfrm>
            <a:off x="4313829" y="4042722"/>
            <a:ext cx="542850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>
              <a:spcAft>
                <a:spcPts val="1000"/>
              </a:spcAft>
            </a:pPr>
            <a:r>
              <a:rPr lang="en-US" sz="1600" dirty="0"/>
              <a:t>Voic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54DCEFE-FA38-9DED-DA1F-D2587301B6B7}"/>
              </a:ext>
            </a:extLst>
          </p:cNvPr>
          <p:cNvGrpSpPr>
            <a:grpSpLocks noChangeAspect="1"/>
          </p:cNvGrpSpPr>
          <p:nvPr/>
        </p:nvGrpSpPr>
        <p:grpSpPr>
          <a:xfrm>
            <a:off x="4321039" y="3305346"/>
            <a:ext cx="528430" cy="660798"/>
            <a:chOff x="9422017" y="3241039"/>
            <a:chExt cx="486727" cy="608648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64615B0-FCBC-3FCF-4960-F05D7CC070CC}"/>
                </a:ext>
              </a:extLst>
            </p:cNvPr>
            <p:cNvSpPr/>
            <p:nvPr/>
          </p:nvSpPr>
          <p:spPr>
            <a:xfrm>
              <a:off x="9422017" y="3241039"/>
              <a:ext cx="486727" cy="240982"/>
            </a:xfrm>
            <a:custGeom>
              <a:avLst/>
              <a:gdLst>
                <a:gd name="connsiteX0" fmla="*/ 26670 w 486727"/>
                <a:gd name="connsiteY0" fmla="*/ 194310 h 240982"/>
                <a:gd name="connsiteX1" fmla="*/ 126682 w 486727"/>
                <a:gd name="connsiteY1" fmla="*/ 194310 h 240982"/>
                <a:gd name="connsiteX2" fmla="*/ 126682 w 486727"/>
                <a:gd name="connsiteY2" fmla="*/ 240983 h 240982"/>
                <a:gd name="connsiteX3" fmla="*/ 173355 w 486727"/>
                <a:gd name="connsiteY3" fmla="*/ 194310 h 240982"/>
                <a:gd name="connsiteX4" fmla="*/ 213360 w 486727"/>
                <a:gd name="connsiteY4" fmla="*/ 194310 h 240982"/>
                <a:gd name="connsiteX5" fmla="*/ 240030 w 486727"/>
                <a:gd name="connsiteY5" fmla="*/ 240983 h 240982"/>
                <a:gd name="connsiteX6" fmla="*/ 266700 w 486727"/>
                <a:gd name="connsiteY6" fmla="*/ 194310 h 240982"/>
                <a:gd name="connsiteX7" fmla="*/ 306705 w 486727"/>
                <a:gd name="connsiteY7" fmla="*/ 194310 h 240982"/>
                <a:gd name="connsiteX8" fmla="*/ 353378 w 486727"/>
                <a:gd name="connsiteY8" fmla="*/ 240983 h 240982"/>
                <a:gd name="connsiteX9" fmla="*/ 353378 w 486727"/>
                <a:gd name="connsiteY9" fmla="*/ 194310 h 240982"/>
                <a:gd name="connsiteX10" fmla="*/ 460058 w 486727"/>
                <a:gd name="connsiteY10" fmla="*/ 194310 h 240982"/>
                <a:gd name="connsiteX11" fmla="*/ 486728 w 486727"/>
                <a:gd name="connsiteY11" fmla="*/ 167640 h 240982"/>
                <a:gd name="connsiteX12" fmla="*/ 486728 w 486727"/>
                <a:gd name="connsiteY12" fmla="*/ 26670 h 240982"/>
                <a:gd name="connsiteX13" fmla="*/ 460058 w 486727"/>
                <a:gd name="connsiteY13" fmla="*/ 0 h 240982"/>
                <a:gd name="connsiteX14" fmla="*/ 26670 w 486727"/>
                <a:gd name="connsiteY14" fmla="*/ 0 h 240982"/>
                <a:gd name="connsiteX15" fmla="*/ 0 w 486727"/>
                <a:gd name="connsiteY15" fmla="*/ 26670 h 240982"/>
                <a:gd name="connsiteX16" fmla="*/ 0 w 486727"/>
                <a:gd name="connsiteY16" fmla="*/ 167640 h 240982"/>
                <a:gd name="connsiteX17" fmla="*/ 26670 w 486727"/>
                <a:gd name="connsiteY17" fmla="*/ 194310 h 240982"/>
                <a:gd name="connsiteX18" fmla="*/ 26670 w 486727"/>
                <a:gd name="connsiteY18" fmla="*/ 194310 h 240982"/>
                <a:gd name="connsiteX19" fmla="*/ 26670 w 486727"/>
                <a:gd name="connsiteY19" fmla="*/ 194310 h 2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6727" h="240982">
                  <a:moveTo>
                    <a:pt x="26670" y="194310"/>
                  </a:moveTo>
                  <a:lnTo>
                    <a:pt x="126682" y="194310"/>
                  </a:lnTo>
                  <a:lnTo>
                    <a:pt x="126682" y="240983"/>
                  </a:lnTo>
                  <a:lnTo>
                    <a:pt x="173355" y="194310"/>
                  </a:lnTo>
                  <a:lnTo>
                    <a:pt x="213360" y="194310"/>
                  </a:lnTo>
                  <a:lnTo>
                    <a:pt x="240030" y="240983"/>
                  </a:lnTo>
                  <a:lnTo>
                    <a:pt x="266700" y="194310"/>
                  </a:lnTo>
                  <a:lnTo>
                    <a:pt x="306705" y="194310"/>
                  </a:lnTo>
                  <a:lnTo>
                    <a:pt x="353378" y="240983"/>
                  </a:lnTo>
                  <a:lnTo>
                    <a:pt x="353378" y="194310"/>
                  </a:lnTo>
                  <a:lnTo>
                    <a:pt x="460058" y="194310"/>
                  </a:lnTo>
                  <a:cubicBezTo>
                    <a:pt x="474345" y="194310"/>
                    <a:pt x="486728" y="181928"/>
                    <a:pt x="486728" y="167640"/>
                  </a:cubicBezTo>
                  <a:lnTo>
                    <a:pt x="486728" y="26670"/>
                  </a:lnTo>
                  <a:cubicBezTo>
                    <a:pt x="486728" y="12383"/>
                    <a:pt x="475298" y="0"/>
                    <a:pt x="460058" y="0"/>
                  </a:cubicBezTo>
                  <a:lnTo>
                    <a:pt x="26670" y="0"/>
                  </a:lnTo>
                  <a:cubicBezTo>
                    <a:pt x="11430" y="0"/>
                    <a:pt x="0" y="12383"/>
                    <a:pt x="0" y="26670"/>
                  </a:cubicBezTo>
                  <a:lnTo>
                    <a:pt x="0" y="167640"/>
                  </a:lnTo>
                  <a:cubicBezTo>
                    <a:pt x="0" y="181928"/>
                    <a:pt x="12383" y="194310"/>
                    <a:pt x="26670" y="194310"/>
                  </a:cubicBezTo>
                  <a:lnTo>
                    <a:pt x="26670" y="194310"/>
                  </a:lnTo>
                  <a:lnTo>
                    <a:pt x="26670" y="194310"/>
                  </a:ln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E529B80-9108-10C7-6502-78730FF51A00}"/>
                </a:ext>
              </a:extLst>
            </p:cNvPr>
            <p:cNvSpPr/>
            <p:nvPr/>
          </p:nvSpPr>
          <p:spPr>
            <a:xfrm>
              <a:off x="9488692" y="3301047"/>
              <a:ext cx="312419" cy="9525"/>
            </a:xfrm>
            <a:custGeom>
              <a:avLst/>
              <a:gdLst>
                <a:gd name="connsiteX0" fmla="*/ 0 w 312419"/>
                <a:gd name="connsiteY0" fmla="*/ 0 h 9525"/>
                <a:gd name="connsiteX1" fmla="*/ 0 w 312419"/>
                <a:gd name="connsiteY1" fmla="*/ 0 h 9525"/>
                <a:gd name="connsiteX2" fmla="*/ 312420 w 312419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19" h="9525">
                  <a:moveTo>
                    <a:pt x="0" y="0"/>
                  </a:moveTo>
                  <a:lnTo>
                    <a:pt x="0" y="0"/>
                  </a:lnTo>
                  <a:lnTo>
                    <a:pt x="31242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69387E7-37EC-6C9B-D1AE-F96F18D3BA37}"/>
                </a:ext>
              </a:extLst>
            </p:cNvPr>
            <p:cNvSpPr/>
            <p:nvPr/>
          </p:nvSpPr>
          <p:spPr>
            <a:xfrm>
              <a:off x="9488692" y="3368675"/>
              <a:ext cx="245744" cy="9525"/>
            </a:xfrm>
            <a:custGeom>
              <a:avLst/>
              <a:gdLst>
                <a:gd name="connsiteX0" fmla="*/ 0 w 245744"/>
                <a:gd name="connsiteY0" fmla="*/ 0 h 9525"/>
                <a:gd name="connsiteX1" fmla="*/ 0 w 245744"/>
                <a:gd name="connsiteY1" fmla="*/ 0 h 9525"/>
                <a:gd name="connsiteX2" fmla="*/ 245745 w 245744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5744" h="9525">
                  <a:moveTo>
                    <a:pt x="0" y="0"/>
                  </a:moveTo>
                  <a:lnTo>
                    <a:pt x="0" y="0"/>
                  </a:lnTo>
                  <a:lnTo>
                    <a:pt x="245745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A89E0C6-4D8D-7842-26A6-B932582E77AE}"/>
                </a:ext>
              </a:extLst>
            </p:cNvPr>
            <p:cNvSpPr/>
            <p:nvPr/>
          </p:nvSpPr>
          <p:spPr>
            <a:xfrm>
              <a:off x="9503932" y="3677285"/>
              <a:ext cx="67627" cy="91439"/>
            </a:xfrm>
            <a:custGeom>
              <a:avLst/>
              <a:gdLst>
                <a:gd name="connsiteX0" fmla="*/ 0 w 67627"/>
                <a:gd name="connsiteY0" fmla="*/ 91440 h 91439"/>
                <a:gd name="connsiteX1" fmla="*/ 0 w 67627"/>
                <a:gd name="connsiteY1" fmla="*/ 44767 h 91439"/>
                <a:gd name="connsiteX2" fmla="*/ 43815 w 67627"/>
                <a:gd name="connsiteY2" fmla="*/ 0 h 91439"/>
                <a:gd name="connsiteX3" fmla="*/ 43815 w 67627"/>
                <a:gd name="connsiteY3" fmla="*/ 0 h 91439"/>
                <a:gd name="connsiteX4" fmla="*/ 67628 w 67627"/>
                <a:gd name="connsiteY4" fmla="*/ 0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7" h="91439">
                  <a:moveTo>
                    <a:pt x="0" y="91440"/>
                  </a:moveTo>
                  <a:lnTo>
                    <a:pt x="0" y="44767"/>
                  </a:lnTo>
                  <a:cubicBezTo>
                    <a:pt x="0" y="20002"/>
                    <a:pt x="19050" y="952"/>
                    <a:pt x="43815" y="0"/>
                  </a:cubicBezTo>
                  <a:cubicBezTo>
                    <a:pt x="43815" y="0"/>
                    <a:pt x="43815" y="0"/>
                    <a:pt x="43815" y="0"/>
                  </a:cubicBezTo>
                  <a:lnTo>
                    <a:pt x="67628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786C288-64E6-8ECF-E894-12A24047BC83}"/>
                </a:ext>
              </a:extLst>
            </p:cNvPr>
            <p:cNvSpPr/>
            <p:nvPr/>
          </p:nvSpPr>
          <p:spPr>
            <a:xfrm>
              <a:off x="9758249" y="3677285"/>
              <a:ext cx="67627" cy="91439"/>
            </a:xfrm>
            <a:custGeom>
              <a:avLst/>
              <a:gdLst>
                <a:gd name="connsiteX0" fmla="*/ 67628 w 67627"/>
                <a:gd name="connsiteY0" fmla="*/ 91440 h 91439"/>
                <a:gd name="connsiteX1" fmla="*/ 67628 w 67627"/>
                <a:gd name="connsiteY1" fmla="*/ 44767 h 91439"/>
                <a:gd name="connsiteX2" fmla="*/ 23813 w 67627"/>
                <a:gd name="connsiteY2" fmla="*/ 0 h 91439"/>
                <a:gd name="connsiteX3" fmla="*/ 23813 w 67627"/>
                <a:gd name="connsiteY3" fmla="*/ 0 h 91439"/>
                <a:gd name="connsiteX4" fmla="*/ 0 w 67627"/>
                <a:gd name="connsiteY4" fmla="*/ 0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7" h="91439">
                  <a:moveTo>
                    <a:pt x="67628" y="91440"/>
                  </a:moveTo>
                  <a:lnTo>
                    <a:pt x="67628" y="44767"/>
                  </a:lnTo>
                  <a:cubicBezTo>
                    <a:pt x="67628" y="20002"/>
                    <a:pt x="48578" y="952"/>
                    <a:pt x="23813" y="0"/>
                  </a:cubicBezTo>
                  <a:cubicBezTo>
                    <a:pt x="23813" y="0"/>
                    <a:pt x="23813" y="0"/>
                    <a:pt x="23813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3704D61-728F-C91B-BF25-3C8A9215A6FF}"/>
                </a:ext>
              </a:extLst>
            </p:cNvPr>
            <p:cNvSpPr/>
            <p:nvPr/>
          </p:nvSpPr>
          <p:spPr>
            <a:xfrm>
              <a:off x="9524887" y="3537267"/>
              <a:ext cx="91440" cy="91439"/>
            </a:xfrm>
            <a:custGeom>
              <a:avLst/>
              <a:gdLst>
                <a:gd name="connsiteX0" fmla="*/ 91440 w 91440"/>
                <a:gd name="connsiteY0" fmla="*/ 45720 h 91439"/>
                <a:gd name="connsiteX1" fmla="*/ 45720 w 91440"/>
                <a:gd name="connsiteY1" fmla="*/ 91440 h 91439"/>
                <a:gd name="connsiteX2" fmla="*/ 0 w 91440"/>
                <a:gd name="connsiteY2" fmla="*/ 45720 h 91439"/>
                <a:gd name="connsiteX3" fmla="*/ 45720 w 91440"/>
                <a:gd name="connsiteY3" fmla="*/ 0 h 91439"/>
                <a:gd name="connsiteX4" fmla="*/ 91440 w 91440"/>
                <a:gd name="connsiteY4" fmla="*/ 45720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" h="91439">
                  <a:moveTo>
                    <a:pt x="91440" y="45720"/>
                  </a:moveTo>
                  <a:cubicBezTo>
                    <a:pt x="91440" y="70970"/>
                    <a:pt x="70970" y="91440"/>
                    <a:pt x="45720" y="91440"/>
                  </a:cubicBezTo>
                  <a:cubicBezTo>
                    <a:pt x="20470" y="91440"/>
                    <a:pt x="0" y="70970"/>
                    <a:pt x="0" y="45720"/>
                  </a:cubicBezTo>
                  <a:cubicBezTo>
                    <a:pt x="0" y="20470"/>
                    <a:pt x="20470" y="0"/>
                    <a:pt x="45720" y="0"/>
                  </a:cubicBezTo>
                  <a:cubicBezTo>
                    <a:pt x="70970" y="0"/>
                    <a:pt x="91440" y="20470"/>
                    <a:pt x="91440" y="45720"/>
                  </a:cubicBez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3B1B129-45CC-42EA-A80A-5DC3CC964236}"/>
                </a:ext>
              </a:extLst>
            </p:cNvPr>
            <p:cNvSpPr/>
            <p:nvPr/>
          </p:nvSpPr>
          <p:spPr>
            <a:xfrm>
              <a:off x="9619185" y="3642042"/>
              <a:ext cx="91439" cy="91439"/>
            </a:xfrm>
            <a:custGeom>
              <a:avLst/>
              <a:gdLst>
                <a:gd name="connsiteX0" fmla="*/ 91440 w 91439"/>
                <a:gd name="connsiteY0" fmla="*/ 45720 h 91439"/>
                <a:gd name="connsiteX1" fmla="*/ 45720 w 91439"/>
                <a:gd name="connsiteY1" fmla="*/ 91440 h 91439"/>
                <a:gd name="connsiteX2" fmla="*/ 0 w 91439"/>
                <a:gd name="connsiteY2" fmla="*/ 45720 h 91439"/>
                <a:gd name="connsiteX3" fmla="*/ 45720 w 91439"/>
                <a:gd name="connsiteY3" fmla="*/ 0 h 91439"/>
                <a:gd name="connsiteX4" fmla="*/ 91440 w 91439"/>
                <a:gd name="connsiteY4" fmla="*/ 45720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39" h="91439">
                  <a:moveTo>
                    <a:pt x="91440" y="45720"/>
                  </a:moveTo>
                  <a:cubicBezTo>
                    <a:pt x="91440" y="70970"/>
                    <a:pt x="70970" y="91440"/>
                    <a:pt x="45720" y="91440"/>
                  </a:cubicBezTo>
                  <a:cubicBezTo>
                    <a:pt x="20470" y="91440"/>
                    <a:pt x="0" y="70970"/>
                    <a:pt x="0" y="45720"/>
                  </a:cubicBezTo>
                  <a:cubicBezTo>
                    <a:pt x="0" y="20470"/>
                    <a:pt x="20470" y="0"/>
                    <a:pt x="45720" y="0"/>
                  </a:cubicBezTo>
                  <a:cubicBezTo>
                    <a:pt x="70970" y="0"/>
                    <a:pt x="91440" y="20470"/>
                    <a:pt x="91440" y="45720"/>
                  </a:cubicBez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DAA1682-0C76-AB82-8541-B92F5457DC20}"/>
                </a:ext>
              </a:extLst>
            </p:cNvPr>
            <p:cNvSpPr/>
            <p:nvPr/>
          </p:nvSpPr>
          <p:spPr>
            <a:xfrm>
              <a:off x="9713482" y="3537267"/>
              <a:ext cx="91439" cy="91439"/>
            </a:xfrm>
            <a:custGeom>
              <a:avLst/>
              <a:gdLst>
                <a:gd name="connsiteX0" fmla="*/ 91440 w 91439"/>
                <a:gd name="connsiteY0" fmla="*/ 45720 h 91439"/>
                <a:gd name="connsiteX1" fmla="*/ 45720 w 91439"/>
                <a:gd name="connsiteY1" fmla="*/ 91440 h 91439"/>
                <a:gd name="connsiteX2" fmla="*/ 0 w 91439"/>
                <a:gd name="connsiteY2" fmla="*/ 45720 h 91439"/>
                <a:gd name="connsiteX3" fmla="*/ 45720 w 91439"/>
                <a:gd name="connsiteY3" fmla="*/ 0 h 91439"/>
                <a:gd name="connsiteX4" fmla="*/ 91440 w 91439"/>
                <a:gd name="connsiteY4" fmla="*/ 45720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39" h="91439">
                  <a:moveTo>
                    <a:pt x="91440" y="45720"/>
                  </a:moveTo>
                  <a:cubicBezTo>
                    <a:pt x="91440" y="70970"/>
                    <a:pt x="70970" y="91440"/>
                    <a:pt x="45720" y="91440"/>
                  </a:cubicBezTo>
                  <a:cubicBezTo>
                    <a:pt x="20470" y="91440"/>
                    <a:pt x="0" y="70970"/>
                    <a:pt x="0" y="45720"/>
                  </a:cubicBezTo>
                  <a:cubicBezTo>
                    <a:pt x="0" y="20470"/>
                    <a:pt x="20470" y="0"/>
                    <a:pt x="45720" y="0"/>
                  </a:cubicBezTo>
                  <a:cubicBezTo>
                    <a:pt x="70970" y="0"/>
                    <a:pt x="91440" y="20470"/>
                    <a:pt x="91440" y="45720"/>
                  </a:cubicBezTo>
                  <a:close/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5C552CF-E0B9-B387-5656-C229AFA18839}"/>
                </a:ext>
              </a:extLst>
            </p:cNvPr>
            <p:cNvSpPr/>
            <p:nvPr/>
          </p:nvSpPr>
          <p:spPr>
            <a:xfrm>
              <a:off x="9596324" y="3781107"/>
              <a:ext cx="137160" cy="68580"/>
            </a:xfrm>
            <a:custGeom>
              <a:avLst/>
              <a:gdLst>
                <a:gd name="connsiteX0" fmla="*/ 137160 w 137160"/>
                <a:gd name="connsiteY0" fmla="*/ 68580 h 68580"/>
                <a:gd name="connsiteX1" fmla="*/ 137160 w 137160"/>
                <a:gd name="connsiteY1" fmla="*/ 51435 h 68580"/>
                <a:gd name="connsiteX2" fmla="*/ 85725 w 137160"/>
                <a:gd name="connsiteY2" fmla="*/ 0 h 68580"/>
                <a:gd name="connsiteX3" fmla="*/ 51435 w 137160"/>
                <a:gd name="connsiteY3" fmla="*/ 0 h 68580"/>
                <a:gd name="connsiteX4" fmla="*/ 0 w 137160"/>
                <a:gd name="connsiteY4" fmla="*/ 51435 h 68580"/>
                <a:gd name="connsiteX5" fmla="*/ 0 w 137160"/>
                <a:gd name="connsiteY5" fmla="*/ 6858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60" h="68580">
                  <a:moveTo>
                    <a:pt x="137160" y="68580"/>
                  </a:moveTo>
                  <a:lnTo>
                    <a:pt x="137160" y="51435"/>
                  </a:lnTo>
                  <a:cubicBezTo>
                    <a:pt x="137160" y="22860"/>
                    <a:pt x="114300" y="0"/>
                    <a:pt x="85725" y="0"/>
                  </a:cubicBezTo>
                  <a:lnTo>
                    <a:pt x="51435" y="0"/>
                  </a:lnTo>
                  <a:cubicBezTo>
                    <a:pt x="22860" y="0"/>
                    <a:pt x="0" y="22860"/>
                    <a:pt x="0" y="51435"/>
                  </a:cubicBezTo>
                  <a:lnTo>
                    <a:pt x="0" y="68580"/>
                  </a:lnTo>
                </a:path>
              </a:pathLst>
            </a:custGeom>
            <a:no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DB45E631-8EEB-737E-8CD1-8AE7D00DAEAA}"/>
              </a:ext>
            </a:extLst>
          </p:cNvPr>
          <p:cNvSpPr txBox="1"/>
          <p:nvPr/>
        </p:nvSpPr>
        <p:spPr>
          <a:xfrm>
            <a:off x="6439587" y="2478972"/>
            <a:ext cx="1930049" cy="53463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dirty="0"/>
              <a:t>Authenticator</a:t>
            </a:r>
            <a:br>
              <a:rPr lang="en-US" sz="1600" dirty="0"/>
            </a:br>
            <a:r>
              <a:rPr lang="en-US" sz="1600" dirty="0"/>
              <a:t>(Push Notifications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5AB9531-1E5A-4467-C2C2-078D0CC00390}"/>
              </a:ext>
            </a:extLst>
          </p:cNvPr>
          <p:cNvSpPr txBox="1"/>
          <p:nvPr/>
        </p:nvSpPr>
        <p:spPr>
          <a:xfrm>
            <a:off x="6792182" y="3867870"/>
            <a:ext cx="1224859" cy="53463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dirty="0"/>
              <a:t>Software</a:t>
            </a:r>
            <a:br>
              <a:rPr lang="en-US" sz="1600" dirty="0"/>
            </a:br>
            <a:r>
              <a:rPr lang="en-US" sz="1600" dirty="0"/>
              <a:t>Tokens OT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845138E-1660-9B04-1C2E-E8B0EC85EBD3}"/>
              </a:ext>
            </a:extLst>
          </p:cNvPr>
          <p:cNvSpPr txBox="1"/>
          <p:nvPr/>
        </p:nvSpPr>
        <p:spPr>
          <a:xfrm>
            <a:off x="6280798" y="5248676"/>
            <a:ext cx="2247628" cy="53463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dirty="0"/>
              <a:t>Hardware Tokens OTP</a:t>
            </a:r>
            <a:br>
              <a:rPr lang="en-US" sz="1600" dirty="0"/>
            </a:br>
            <a:r>
              <a:rPr lang="en-US" sz="1600" dirty="0"/>
              <a:t>(Preview)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96AE3B2-61BD-BB89-FDF4-C6DC3D4FCA2A}"/>
              </a:ext>
            </a:extLst>
          </p:cNvPr>
          <p:cNvGrpSpPr>
            <a:grpSpLocks noChangeAspect="1"/>
          </p:cNvGrpSpPr>
          <p:nvPr/>
        </p:nvGrpSpPr>
        <p:grpSpPr>
          <a:xfrm>
            <a:off x="7213240" y="4754179"/>
            <a:ext cx="382743" cy="383088"/>
            <a:chOff x="10569816" y="2397474"/>
            <a:chExt cx="567765" cy="56827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212129A-29CB-F198-050C-AC631CD6A281}"/>
                </a:ext>
              </a:extLst>
            </p:cNvPr>
            <p:cNvSpPr/>
            <p:nvPr/>
          </p:nvSpPr>
          <p:spPr>
            <a:xfrm>
              <a:off x="10834305" y="2397474"/>
              <a:ext cx="303276" cy="303371"/>
            </a:xfrm>
            <a:custGeom>
              <a:avLst/>
              <a:gdLst>
                <a:gd name="connsiteX0" fmla="*/ 97250 w 303276"/>
                <a:gd name="connsiteY0" fmla="*/ 293370 h 303371"/>
                <a:gd name="connsiteX1" fmla="*/ 151638 w 303276"/>
                <a:gd name="connsiteY1" fmla="*/ 303371 h 303371"/>
                <a:gd name="connsiteX2" fmla="*/ 303276 w 303276"/>
                <a:gd name="connsiteY2" fmla="*/ 151733 h 303371"/>
                <a:gd name="connsiteX3" fmla="*/ 151638 w 303276"/>
                <a:gd name="connsiteY3" fmla="*/ 0 h 303371"/>
                <a:gd name="connsiteX4" fmla="*/ 0 w 303276"/>
                <a:gd name="connsiteY4" fmla="*/ 151733 h 303371"/>
                <a:gd name="connsiteX5" fmla="*/ 16764 w 303276"/>
                <a:gd name="connsiteY5" fmla="*/ 221075 h 30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276" h="303371">
                  <a:moveTo>
                    <a:pt x="97250" y="293370"/>
                  </a:moveTo>
                  <a:cubicBezTo>
                    <a:pt x="114109" y="299847"/>
                    <a:pt x="132493" y="303371"/>
                    <a:pt x="151638" y="303371"/>
                  </a:cubicBezTo>
                  <a:cubicBezTo>
                    <a:pt x="235363" y="303371"/>
                    <a:pt x="303276" y="235458"/>
                    <a:pt x="303276" y="151733"/>
                  </a:cubicBezTo>
                  <a:cubicBezTo>
                    <a:pt x="303276" y="68009"/>
                    <a:pt x="235363" y="0"/>
                    <a:pt x="151638" y="0"/>
                  </a:cubicBezTo>
                  <a:cubicBezTo>
                    <a:pt x="67913" y="0"/>
                    <a:pt x="0" y="67913"/>
                    <a:pt x="0" y="151733"/>
                  </a:cubicBezTo>
                  <a:cubicBezTo>
                    <a:pt x="0" y="176784"/>
                    <a:pt x="6096" y="200406"/>
                    <a:pt x="16764" y="221075"/>
                  </a:cubicBezTo>
                </a:path>
              </a:pathLst>
            </a:custGeom>
            <a:noFill/>
            <a:ln w="6350" cap="rnd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3613EFF-4921-88BA-B76F-C27A3930A501}"/>
                </a:ext>
              </a:extLst>
            </p:cNvPr>
            <p:cNvSpPr/>
            <p:nvPr/>
          </p:nvSpPr>
          <p:spPr>
            <a:xfrm>
              <a:off x="10569816" y="2618549"/>
              <a:ext cx="361739" cy="347203"/>
            </a:xfrm>
            <a:custGeom>
              <a:avLst/>
              <a:gdLst>
                <a:gd name="connsiteX0" fmla="*/ 281253 w 361739"/>
                <a:gd name="connsiteY0" fmla="*/ 0 h 347203"/>
                <a:gd name="connsiteX1" fmla="*/ 4552 w 361739"/>
                <a:gd name="connsiteY1" fmla="*/ 276606 h 347203"/>
                <a:gd name="connsiteX2" fmla="*/ 361 w 361739"/>
                <a:gd name="connsiteY2" fmla="*/ 290989 h 347203"/>
                <a:gd name="connsiteX3" fmla="*/ 11219 w 361739"/>
                <a:gd name="connsiteY3" fmla="*/ 340805 h 347203"/>
                <a:gd name="connsiteX4" fmla="*/ 14648 w 361739"/>
                <a:gd name="connsiteY4" fmla="*/ 343757 h 347203"/>
                <a:gd name="connsiteX5" fmla="*/ 79418 w 361739"/>
                <a:gd name="connsiteY5" fmla="*/ 347186 h 347203"/>
                <a:gd name="connsiteX6" fmla="*/ 90182 w 361739"/>
                <a:gd name="connsiteY6" fmla="*/ 343186 h 347203"/>
                <a:gd name="connsiteX7" fmla="*/ 123519 w 361739"/>
                <a:gd name="connsiteY7" fmla="*/ 310896 h 347203"/>
                <a:gd name="connsiteX8" fmla="*/ 127710 w 361739"/>
                <a:gd name="connsiteY8" fmla="*/ 298418 h 347203"/>
                <a:gd name="connsiteX9" fmla="*/ 119804 w 361739"/>
                <a:gd name="connsiteY9" fmla="*/ 248126 h 347203"/>
                <a:gd name="connsiteX10" fmla="*/ 123614 w 361739"/>
                <a:gd name="connsiteY10" fmla="*/ 244031 h 347203"/>
                <a:gd name="connsiteX11" fmla="*/ 178764 w 361739"/>
                <a:gd name="connsiteY11" fmla="*/ 248888 h 347203"/>
                <a:gd name="connsiteX12" fmla="*/ 191051 w 361739"/>
                <a:gd name="connsiteY12" fmla="*/ 244793 h 347203"/>
                <a:gd name="connsiteX13" fmla="*/ 204767 w 361739"/>
                <a:gd name="connsiteY13" fmla="*/ 232505 h 347203"/>
                <a:gd name="connsiteX14" fmla="*/ 210197 w 361739"/>
                <a:gd name="connsiteY14" fmla="*/ 219456 h 347203"/>
                <a:gd name="connsiteX15" fmla="*/ 206958 w 361739"/>
                <a:gd name="connsiteY15" fmla="*/ 161544 h 347203"/>
                <a:gd name="connsiteX16" fmla="*/ 210863 w 361739"/>
                <a:gd name="connsiteY16" fmla="*/ 157829 h 347203"/>
                <a:gd name="connsiteX17" fmla="*/ 257536 w 361739"/>
                <a:gd name="connsiteY17" fmla="*/ 162878 h 347203"/>
                <a:gd name="connsiteX18" fmla="*/ 274681 w 361739"/>
                <a:gd name="connsiteY18" fmla="*/ 156972 h 347203"/>
                <a:gd name="connsiteX19" fmla="*/ 361739 w 361739"/>
                <a:gd name="connsiteY19" fmla="*/ 72390 h 347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1739" h="347203">
                  <a:moveTo>
                    <a:pt x="281253" y="0"/>
                  </a:moveTo>
                  <a:lnTo>
                    <a:pt x="4552" y="276606"/>
                  </a:lnTo>
                  <a:cubicBezTo>
                    <a:pt x="837" y="280321"/>
                    <a:pt x="-782" y="285750"/>
                    <a:pt x="361" y="290989"/>
                  </a:cubicBezTo>
                  <a:lnTo>
                    <a:pt x="11219" y="340805"/>
                  </a:lnTo>
                  <a:cubicBezTo>
                    <a:pt x="11600" y="342424"/>
                    <a:pt x="13029" y="343662"/>
                    <a:pt x="14648" y="343757"/>
                  </a:cubicBezTo>
                  <a:lnTo>
                    <a:pt x="79418" y="347186"/>
                  </a:lnTo>
                  <a:cubicBezTo>
                    <a:pt x="83419" y="347377"/>
                    <a:pt x="87324" y="345948"/>
                    <a:pt x="90182" y="343186"/>
                  </a:cubicBezTo>
                  <a:lnTo>
                    <a:pt x="123519" y="310896"/>
                  </a:lnTo>
                  <a:cubicBezTo>
                    <a:pt x="126853" y="307658"/>
                    <a:pt x="128377" y="302990"/>
                    <a:pt x="127710" y="298418"/>
                  </a:cubicBezTo>
                  <a:lnTo>
                    <a:pt x="119804" y="248126"/>
                  </a:lnTo>
                  <a:cubicBezTo>
                    <a:pt x="119423" y="245840"/>
                    <a:pt x="121328" y="243840"/>
                    <a:pt x="123614" y="244031"/>
                  </a:cubicBezTo>
                  <a:lnTo>
                    <a:pt x="178764" y="248888"/>
                  </a:lnTo>
                  <a:cubicBezTo>
                    <a:pt x="183241" y="249269"/>
                    <a:pt x="187718" y="247841"/>
                    <a:pt x="191051" y="244793"/>
                  </a:cubicBezTo>
                  <a:lnTo>
                    <a:pt x="204767" y="232505"/>
                  </a:lnTo>
                  <a:cubicBezTo>
                    <a:pt x="208482" y="229172"/>
                    <a:pt x="210482" y="224409"/>
                    <a:pt x="210197" y="219456"/>
                  </a:cubicBezTo>
                  <a:lnTo>
                    <a:pt x="206958" y="161544"/>
                  </a:lnTo>
                  <a:cubicBezTo>
                    <a:pt x="206863" y="159353"/>
                    <a:pt x="208673" y="157543"/>
                    <a:pt x="210863" y="157829"/>
                  </a:cubicBezTo>
                  <a:lnTo>
                    <a:pt x="257536" y="162878"/>
                  </a:lnTo>
                  <a:cubicBezTo>
                    <a:pt x="263822" y="163544"/>
                    <a:pt x="270109" y="161354"/>
                    <a:pt x="274681" y="156972"/>
                  </a:cubicBezTo>
                  <a:lnTo>
                    <a:pt x="361739" y="72390"/>
                  </a:lnTo>
                </a:path>
              </a:pathLst>
            </a:custGeom>
            <a:noFill/>
            <a:ln w="6350" cap="rnd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A993E2E-9BF4-2241-6AF5-1CC670230ABA}"/>
                </a:ext>
              </a:extLst>
            </p:cNvPr>
            <p:cNvSpPr/>
            <p:nvPr/>
          </p:nvSpPr>
          <p:spPr>
            <a:xfrm>
              <a:off x="10988515" y="2488914"/>
              <a:ext cx="76771" cy="76771"/>
            </a:xfrm>
            <a:custGeom>
              <a:avLst/>
              <a:gdLst>
                <a:gd name="connsiteX0" fmla="*/ 76771 w 76771"/>
                <a:gd name="connsiteY0" fmla="*/ 38386 h 76771"/>
                <a:gd name="connsiteX1" fmla="*/ 38386 w 76771"/>
                <a:gd name="connsiteY1" fmla="*/ 76772 h 76771"/>
                <a:gd name="connsiteX2" fmla="*/ 0 w 76771"/>
                <a:gd name="connsiteY2" fmla="*/ 38386 h 76771"/>
                <a:gd name="connsiteX3" fmla="*/ 38386 w 76771"/>
                <a:gd name="connsiteY3" fmla="*/ 0 h 76771"/>
                <a:gd name="connsiteX4" fmla="*/ 76771 w 76771"/>
                <a:gd name="connsiteY4" fmla="*/ 38386 h 7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71" h="76771">
                  <a:moveTo>
                    <a:pt x="76771" y="38386"/>
                  </a:moveTo>
                  <a:cubicBezTo>
                    <a:pt x="76771" y="59586"/>
                    <a:pt x="59586" y="76772"/>
                    <a:pt x="38386" y="76772"/>
                  </a:cubicBezTo>
                  <a:cubicBezTo>
                    <a:pt x="17186" y="76772"/>
                    <a:pt x="0" y="59586"/>
                    <a:pt x="0" y="38386"/>
                  </a:cubicBezTo>
                  <a:cubicBezTo>
                    <a:pt x="0" y="17186"/>
                    <a:pt x="17186" y="0"/>
                    <a:pt x="38386" y="0"/>
                  </a:cubicBezTo>
                  <a:cubicBezTo>
                    <a:pt x="59586" y="0"/>
                    <a:pt x="76771" y="17186"/>
                    <a:pt x="76771" y="38386"/>
                  </a:cubicBezTo>
                  <a:close/>
                </a:path>
              </a:pathLst>
            </a:custGeom>
            <a:noFill/>
            <a:ln w="6350" cap="rnd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65C6EC9-2ADF-3BB0-384E-7CE5A6D54842}"/>
              </a:ext>
            </a:extLst>
          </p:cNvPr>
          <p:cNvGrpSpPr>
            <a:grpSpLocks noChangeAspect="1"/>
          </p:cNvGrpSpPr>
          <p:nvPr/>
        </p:nvGrpSpPr>
        <p:grpSpPr>
          <a:xfrm>
            <a:off x="7238670" y="2038117"/>
            <a:ext cx="331882" cy="373587"/>
            <a:chOff x="3835245" y="5243937"/>
            <a:chExt cx="541548" cy="60960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EE1FF84-241F-FCA2-7D12-2218242712B9}"/>
                </a:ext>
              </a:extLst>
            </p:cNvPr>
            <p:cNvSpPr/>
            <p:nvPr/>
          </p:nvSpPr>
          <p:spPr>
            <a:xfrm>
              <a:off x="4049757" y="5437294"/>
              <a:ext cx="112395" cy="77152"/>
            </a:xfrm>
            <a:custGeom>
              <a:avLst/>
              <a:gdLst>
                <a:gd name="connsiteX0" fmla="*/ 112395 w 112395"/>
                <a:gd name="connsiteY0" fmla="*/ 77153 h 77152"/>
                <a:gd name="connsiteX1" fmla="*/ 112395 w 112395"/>
                <a:gd name="connsiteY1" fmla="*/ 56198 h 77152"/>
                <a:gd name="connsiteX2" fmla="*/ 56197 w 112395"/>
                <a:gd name="connsiteY2" fmla="*/ 0 h 77152"/>
                <a:gd name="connsiteX3" fmla="*/ 56197 w 112395"/>
                <a:gd name="connsiteY3" fmla="*/ 0 h 77152"/>
                <a:gd name="connsiteX4" fmla="*/ 0 w 112395"/>
                <a:gd name="connsiteY4" fmla="*/ 56198 h 77152"/>
                <a:gd name="connsiteX5" fmla="*/ 0 w 112395"/>
                <a:gd name="connsiteY5" fmla="*/ 77153 h 7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395" h="77152">
                  <a:moveTo>
                    <a:pt x="112395" y="77153"/>
                  </a:moveTo>
                  <a:lnTo>
                    <a:pt x="112395" y="56198"/>
                  </a:lnTo>
                  <a:cubicBezTo>
                    <a:pt x="112395" y="25718"/>
                    <a:pt x="87630" y="0"/>
                    <a:pt x="56197" y="0"/>
                  </a:cubicBezTo>
                  <a:lnTo>
                    <a:pt x="56197" y="0"/>
                  </a:lnTo>
                  <a:cubicBezTo>
                    <a:pt x="25717" y="0"/>
                    <a:pt x="0" y="24765"/>
                    <a:pt x="0" y="56198"/>
                  </a:cubicBezTo>
                  <a:lnTo>
                    <a:pt x="0" y="77153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40C14F4-23E4-CAE4-90B8-88DD79829567}"/>
                </a:ext>
              </a:extLst>
            </p:cNvPr>
            <p:cNvSpPr/>
            <p:nvPr/>
          </p:nvSpPr>
          <p:spPr>
            <a:xfrm>
              <a:off x="3835245" y="5243937"/>
              <a:ext cx="541548" cy="609600"/>
            </a:xfrm>
            <a:custGeom>
              <a:avLst/>
              <a:gdLst>
                <a:gd name="connsiteX0" fmla="*/ 538362 w 541548"/>
                <a:gd name="connsiteY0" fmla="*/ 76200 h 609600"/>
                <a:gd name="connsiteX1" fmla="*/ 270710 w 541548"/>
                <a:gd name="connsiteY1" fmla="*/ 0 h 609600"/>
                <a:gd name="connsiteX2" fmla="*/ 3057 w 541548"/>
                <a:gd name="connsiteY2" fmla="*/ 76200 h 609600"/>
                <a:gd name="connsiteX3" fmla="*/ 270710 w 541548"/>
                <a:gd name="connsiteY3" fmla="*/ 609600 h 609600"/>
                <a:gd name="connsiteX4" fmla="*/ 538362 w 541548"/>
                <a:gd name="connsiteY4" fmla="*/ 76200 h 609600"/>
                <a:gd name="connsiteX5" fmla="*/ 538362 w 541548"/>
                <a:gd name="connsiteY5" fmla="*/ 76200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548" h="609600">
                  <a:moveTo>
                    <a:pt x="538362" y="76200"/>
                  </a:moveTo>
                  <a:cubicBezTo>
                    <a:pt x="372627" y="95250"/>
                    <a:pt x="270710" y="0"/>
                    <a:pt x="270710" y="0"/>
                  </a:cubicBezTo>
                  <a:cubicBezTo>
                    <a:pt x="270710" y="0"/>
                    <a:pt x="167840" y="95250"/>
                    <a:pt x="3057" y="76200"/>
                  </a:cubicBezTo>
                  <a:cubicBezTo>
                    <a:pt x="3057" y="76200"/>
                    <a:pt x="-48378" y="514350"/>
                    <a:pt x="270710" y="609600"/>
                  </a:cubicBezTo>
                  <a:cubicBezTo>
                    <a:pt x="590750" y="515303"/>
                    <a:pt x="538362" y="76200"/>
                    <a:pt x="538362" y="76200"/>
                  </a:cubicBezTo>
                  <a:lnTo>
                    <a:pt x="538362" y="76200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1FE9BA0-C347-89C9-11B6-050FF19D7715}"/>
                </a:ext>
              </a:extLst>
            </p:cNvPr>
            <p:cNvSpPr/>
            <p:nvPr/>
          </p:nvSpPr>
          <p:spPr>
            <a:xfrm>
              <a:off x="4012610" y="5517304"/>
              <a:ext cx="187642" cy="164782"/>
            </a:xfrm>
            <a:custGeom>
              <a:avLst/>
              <a:gdLst>
                <a:gd name="connsiteX0" fmla="*/ 0 w 187642"/>
                <a:gd name="connsiteY0" fmla="*/ 0 h 164782"/>
                <a:gd name="connsiteX1" fmla="*/ 187643 w 187642"/>
                <a:gd name="connsiteY1" fmla="*/ 0 h 164782"/>
                <a:gd name="connsiteX2" fmla="*/ 187643 w 187642"/>
                <a:gd name="connsiteY2" fmla="*/ 164783 h 164782"/>
                <a:gd name="connsiteX3" fmla="*/ 0 w 187642"/>
                <a:gd name="connsiteY3" fmla="*/ 164783 h 16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164782">
                  <a:moveTo>
                    <a:pt x="0" y="0"/>
                  </a:moveTo>
                  <a:lnTo>
                    <a:pt x="187643" y="0"/>
                  </a:lnTo>
                  <a:lnTo>
                    <a:pt x="187643" y="164783"/>
                  </a:lnTo>
                  <a:lnTo>
                    <a:pt x="0" y="164783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0009CEF-5D35-B010-8F5A-6AFFF68ECA9D}"/>
              </a:ext>
            </a:extLst>
          </p:cNvPr>
          <p:cNvGrpSpPr>
            <a:grpSpLocks noChangeAspect="1"/>
          </p:cNvGrpSpPr>
          <p:nvPr/>
        </p:nvGrpSpPr>
        <p:grpSpPr>
          <a:xfrm>
            <a:off x="7179341" y="3417178"/>
            <a:ext cx="450541" cy="365998"/>
            <a:chOff x="2908300" y="2393950"/>
            <a:chExt cx="668337" cy="542925"/>
          </a:xfrm>
        </p:grpSpPr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69E5CCD0-9CBB-BCA1-653C-CEB65B983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300" y="2393950"/>
              <a:ext cx="668337" cy="542925"/>
            </a:xfrm>
            <a:custGeom>
              <a:avLst/>
              <a:gdLst>
                <a:gd name="T0" fmla="*/ 17 w 256"/>
                <a:gd name="T1" fmla="*/ 0 h 206"/>
                <a:gd name="T2" fmla="*/ 239 w 256"/>
                <a:gd name="T3" fmla="*/ 0 h 206"/>
                <a:gd name="T4" fmla="*/ 256 w 256"/>
                <a:gd name="T5" fmla="*/ 17 h 206"/>
                <a:gd name="T6" fmla="*/ 256 w 256"/>
                <a:gd name="T7" fmla="*/ 189 h 206"/>
                <a:gd name="T8" fmla="*/ 239 w 256"/>
                <a:gd name="T9" fmla="*/ 206 h 206"/>
                <a:gd name="T10" fmla="*/ 17 w 256"/>
                <a:gd name="T11" fmla="*/ 206 h 206"/>
                <a:gd name="T12" fmla="*/ 0 w 256"/>
                <a:gd name="T13" fmla="*/ 189 h 206"/>
                <a:gd name="T14" fmla="*/ 0 w 256"/>
                <a:gd name="T15" fmla="*/ 17 h 206"/>
                <a:gd name="T16" fmla="*/ 17 w 256"/>
                <a:gd name="T17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206">
                  <a:moveTo>
                    <a:pt x="17" y="0"/>
                  </a:moveTo>
                  <a:cubicBezTo>
                    <a:pt x="239" y="0"/>
                    <a:pt x="239" y="0"/>
                    <a:pt x="239" y="0"/>
                  </a:cubicBezTo>
                  <a:cubicBezTo>
                    <a:pt x="248" y="0"/>
                    <a:pt x="256" y="7"/>
                    <a:pt x="256" y="17"/>
                  </a:cubicBezTo>
                  <a:cubicBezTo>
                    <a:pt x="256" y="189"/>
                    <a:pt x="256" y="189"/>
                    <a:pt x="256" y="189"/>
                  </a:cubicBezTo>
                  <a:cubicBezTo>
                    <a:pt x="256" y="199"/>
                    <a:pt x="248" y="206"/>
                    <a:pt x="239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8" y="206"/>
                    <a:pt x="0" y="199"/>
                    <a:pt x="0" y="189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Line 18">
              <a:extLst>
                <a:ext uri="{FF2B5EF4-FFF2-40B4-BE49-F238E27FC236}">
                  <a16:creationId xmlns:a16="http://schemas.microsoft.com/office/drawing/2014/main" id="{CCF846E0-FC8E-947D-4F73-B9E80EEDE3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063" y="2536825"/>
              <a:ext cx="661987" cy="0"/>
            </a:xfrm>
            <a:prstGeom prst="line">
              <a:avLst/>
            </a:prstGeom>
            <a:noFill/>
            <a:ln w="6350" cap="flat">
              <a:solidFill>
                <a:srgbClr val="253D8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19">
              <a:extLst>
                <a:ext uri="{FF2B5EF4-FFF2-40B4-BE49-F238E27FC236}">
                  <a16:creationId xmlns:a16="http://schemas.microsoft.com/office/drawing/2014/main" id="{CA59FE2C-F56B-5C0B-5E71-C75655D53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3388" y="2452688"/>
              <a:ext cx="28575" cy="28575"/>
            </a:xfrm>
            <a:prstGeom prst="ellipse">
              <a:avLst/>
            </a:prstGeom>
            <a:solidFill>
              <a:srgbClr val="253D85"/>
            </a:solidFill>
            <a:ln w="6350">
              <a:solidFill>
                <a:srgbClr val="253D8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20">
              <a:extLst>
                <a:ext uri="{FF2B5EF4-FFF2-40B4-BE49-F238E27FC236}">
                  <a16:creationId xmlns:a16="http://schemas.microsoft.com/office/drawing/2014/main" id="{CC6018DB-4C4D-3701-2201-C597FACE02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5300" y="2452688"/>
              <a:ext cx="30162" cy="28575"/>
            </a:xfrm>
            <a:prstGeom prst="ellipse">
              <a:avLst/>
            </a:prstGeom>
            <a:solidFill>
              <a:srgbClr val="253D85"/>
            </a:solidFill>
            <a:ln w="6350">
              <a:solidFill>
                <a:srgbClr val="253D8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21">
              <a:extLst>
                <a:ext uri="{FF2B5EF4-FFF2-40B4-BE49-F238E27FC236}">
                  <a16:creationId xmlns:a16="http://schemas.microsoft.com/office/drawing/2014/main" id="{9DA43596-B9D1-AFA2-4770-A2207B782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5" y="2452688"/>
              <a:ext cx="28575" cy="28575"/>
            </a:xfrm>
            <a:prstGeom prst="ellipse">
              <a:avLst/>
            </a:prstGeom>
            <a:solidFill>
              <a:srgbClr val="253D85"/>
            </a:solidFill>
            <a:ln w="6350">
              <a:solidFill>
                <a:srgbClr val="253D8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2">
              <a:extLst>
                <a:ext uri="{FF2B5EF4-FFF2-40B4-BE49-F238E27FC236}">
                  <a16:creationId xmlns:a16="http://schemas.microsoft.com/office/drawing/2014/main" id="{993AD025-0C94-8570-6560-2FA0AC2D8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2581275"/>
              <a:ext cx="271462" cy="280988"/>
            </a:xfrm>
            <a:custGeom>
              <a:avLst/>
              <a:gdLst>
                <a:gd name="T0" fmla="*/ 67 w 104"/>
                <a:gd name="T1" fmla="*/ 103 h 107"/>
                <a:gd name="T2" fmla="*/ 47 w 104"/>
                <a:gd name="T3" fmla="*/ 105 h 107"/>
                <a:gd name="T4" fmla="*/ 3 w 104"/>
                <a:gd name="T5" fmla="*/ 48 h 107"/>
                <a:gd name="T6" fmla="*/ 61 w 104"/>
                <a:gd name="T7" fmla="*/ 4 h 107"/>
                <a:gd name="T8" fmla="*/ 104 w 104"/>
                <a:gd name="T9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07">
                  <a:moveTo>
                    <a:pt x="67" y="103"/>
                  </a:moveTo>
                  <a:cubicBezTo>
                    <a:pt x="60" y="107"/>
                    <a:pt x="47" y="105"/>
                    <a:pt x="47" y="105"/>
                  </a:cubicBezTo>
                  <a:cubicBezTo>
                    <a:pt x="19" y="101"/>
                    <a:pt x="0" y="75"/>
                    <a:pt x="3" y="48"/>
                  </a:cubicBezTo>
                  <a:cubicBezTo>
                    <a:pt x="7" y="20"/>
                    <a:pt x="33" y="0"/>
                    <a:pt x="61" y="4"/>
                  </a:cubicBezTo>
                  <a:cubicBezTo>
                    <a:pt x="87" y="8"/>
                    <a:pt x="104" y="30"/>
                    <a:pt x="104" y="54"/>
                  </a:cubicBez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3">
              <a:extLst>
                <a:ext uri="{FF2B5EF4-FFF2-40B4-BE49-F238E27FC236}">
                  <a16:creationId xmlns:a16="http://schemas.microsoft.com/office/drawing/2014/main" id="{853FD5AE-F4C9-3796-D533-25495F09A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0550" y="2649538"/>
              <a:ext cx="141287" cy="139700"/>
            </a:xfrm>
            <a:custGeom>
              <a:avLst/>
              <a:gdLst>
                <a:gd name="T0" fmla="*/ 24 w 54"/>
                <a:gd name="T1" fmla="*/ 53 h 53"/>
                <a:gd name="T2" fmla="*/ 2 w 54"/>
                <a:gd name="T3" fmla="*/ 24 h 53"/>
                <a:gd name="T4" fmla="*/ 32 w 54"/>
                <a:gd name="T5" fmla="*/ 2 h 53"/>
                <a:gd name="T6" fmla="*/ 54 w 54"/>
                <a:gd name="T7" fmla="*/ 2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53">
                  <a:moveTo>
                    <a:pt x="24" y="53"/>
                  </a:moveTo>
                  <a:cubicBezTo>
                    <a:pt x="10" y="51"/>
                    <a:pt x="0" y="39"/>
                    <a:pt x="2" y="24"/>
                  </a:cubicBezTo>
                  <a:cubicBezTo>
                    <a:pt x="4" y="10"/>
                    <a:pt x="18" y="0"/>
                    <a:pt x="32" y="2"/>
                  </a:cubicBezTo>
                  <a:cubicBezTo>
                    <a:pt x="42" y="2"/>
                    <a:pt x="52" y="12"/>
                    <a:pt x="54" y="22"/>
                  </a:cubicBez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4">
              <a:extLst>
                <a:ext uri="{FF2B5EF4-FFF2-40B4-BE49-F238E27FC236}">
                  <a16:creationId xmlns:a16="http://schemas.microsoft.com/office/drawing/2014/main" id="{F02FCC5E-1B85-4C2C-1A7C-60C644A98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3575" y="2724150"/>
              <a:ext cx="211137" cy="169863"/>
            </a:xfrm>
            <a:custGeom>
              <a:avLst/>
              <a:gdLst>
                <a:gd name="T0" fmla="*/ 117 w 133"/>
                <a:gd name="T1" fmla="*/ 107 h 107"/>
                <a:gd name="T2" fmla="*/ 67 w 133"/>
                <a:gd name="T3" fmla="*/ 71 h 107"/>
                <a:gd name="T4" fmla="*/ 56 w 133"/>
                <a:gd name="T5" fmla="*/ 101 h 107"/>
                <a:gd name="T6" fmla="*/ 0 w 133"/>
                <a:gd name="T7" fmla="*/ 0 h 107"/>
                <a:gd name="T8" fmla="*/ 114 w 133"/>
                <a:gd name="T9" fmla="*/ 24 h 107"/>
                <a:gd name="T10" fmla="*/ 87 w 133"/>
                <a:gd name="T11" fmla="*/ 44 h 107"/>
                <a:gd name="T12" fmla="*/ 133 w 133"/>
                <a:gd name="T13" fmla="*/ 81 h 107"/>
                <a:gd name="T14" fmla="*/ 117 w 133"/>
                <a:gd name="T15" fmla="*/ 107 h 107"/>
                <a:gd name="T16" fmla="*/ 117 w 133"/>
                <a:gd name="T17" fmla="*/ 107 h 107"/>
                <a:gd name="T18" fmla="*/ 117 w 133"/>
                <a:gd name="T19" fmla="*/ 107 h 107"/>
                <a:gd name="T20" fmla="*/ 117 w 133"/>
                <a:gd name="T2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07">
                  <a:moveTo>
                    <a:pt x="117" y="107"/>
                  </a:moveTo>
                  <a:lnTo>
                    <a:pt x="67" y="71"/>
                  </a:lnTo>
                  <a:lnTo>
                    <a:pt x="56" y="101"/>
                  </a:lnTo>
                  <a:lnTo>
                    <a:pt x="0" y="0"/>
                  </a:lnTo>
                  <a:lnTo>
                    <a:pt x="114" y="24"/>
                  </a:lnTo>
                  <a:lnTo>
                    <a:pt x="87" y="44"/>
                  </a:lnTo>
                  <a:lnTo>
                    <a:pt x="133" y="81"/>
                  </a:lnTo>
                  <a:lnTo>
                    <a:pt x="117" y="107"/>
                  </a:lnTo>
                  <a:lnTo>
                    <a:pt x="117" y="107"/>
                  </a:lnTo>
                  <a:lnTo>
                    <a:pt x="117" y="107"/>
                  </a:lnTo>
                  <a:lnTo>
                    <a:pt x="117" y="107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E9F046A-4696-D36F-6A4A-BE2D70F8195E}"/>
              </a:ext>
            </a:extLst>
          </p:cNvPr>
          <p:cNvGrpSpPr>
            <a:grpSpLocks noChangeAspect="1"/>
          </p:cNvGrpSpPr>
          <p:nvPr/>
        </p:nvGrpSpPr>
        <p:grpSpPr>
          <a:xfrm>
            <a:off x="9749467" y="4959474"/>
            <a:ext cx="359018" cy="434169"/>
            <a:chOff x="1232630" y="5161343"/>
            <a:chExt cx="484156" cy="585501"/>
          </a:xfrm>
          <a:noFill/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C74F73D-D862-1FCD-3459-308A3F5EDC09}"/>
                </a:ext>
              </a:extLst>
            </p:cNvPr>
            <p:cNvSpPr/>
            <p:nvPr/>
          </p:nvSpPr>
          <p:spPr>
            <a:xfrm>
              <a:off x="1508760" y="5164581"/>
              <a:ext cx="208026" cy="187166"/>
            </a:xfrm>
            <a:custGeom>
              <a:avLst/>
              <a:gdLst>
                <a:gd name="connsiteX0" fmla="*/ 104013 w 208026"/>
                <a:gd name="connsiteY0" fmla="*/ 0 h 187166"/>
                <a:gd name="connsiteX1" fmla="*/ 137160 w 208026"/>
                <a:gd name="connsiteY1" fmla="*/ 62389 h 187166"/>
                <a:gd name="connsiteX2" fmla="*/ 208026 w 208026"/>
                <a:gd name="connsiteY2" fmla="*/ 70961 h 187166"/>
                <a:gd name="connsiteX3" fmla="*/ 156019 w 208026"/>
                <a:gd name="connsiteY3" fmla="*/ 117824 h 187166"/>
                <a:gd name="connsiteX4" fmla="*/ 166402 w 208026"/>
                <a:gd name="connsiteY4" fmla="*/ 187166 h 187166"/>
                <a:gd name="connsiteX5" fmla="*/ 104013 w 208026"/>
                <a:gd name="connsiteY5" fmla="*/ 148209 h 187166"/>
                <a:gd name="connsiteX6" fmla="*/ 41624 w 208026"/>
                <a:gd name="connsiteY6" fmla="*/ 187166 h 187166"/>
                <a:gd name="connsiteX7" fmla="*/ 52006 w 208026"/>
                <a:gd name="connsiteY7" fmla="*/ 117824 h 187166"/>
                <a:gd name="connsiteX8" fmla="*/ 0 w 208026"/>
                <a:gd name="connsiteY8" fmla="*/ 70961 h 187166"/>
                <a:gd name="connsiteX9" fmla="*/ 72771 w 208026"/>
                <a:gd name="connsiteY9" fmla="*/ 62389 h 187166"/>
                <a:gd name="connsiteX10" fmla="*/ 104013 w 208026"/>
                <a:gd name="connsiteY10" fmla="*/ 0 h 187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8026" h="187166">
                  <a:moveTo>
                    <a:pt x="104013" y="0"/>
                  </a:moveTo>
                  <a:lnTo>
                    <a:pt x="137160" y="62389"/>
                  </a:lnTo>
                  <a:lnTo>
                    <a:pt x="208026" y="70961"/>
                  </a:lnTo>
                  <a:lnTo>
                    <a:pt x="156019" y="117824"/>
                  </a:lnTo>
                  <a:lnTo>
                    <a:pt x="166402" y="187166"/>
                  </a:lnTo>
                  <a:lnTo>
                    <a:pt x="104013" y="148209"/>
                  </a:lnTo>
                  <a:lnTo>
                    <a:pt x="41624" y="187166"/>
                  </a:lnTo>
                  <a:lnTo>
                    <a:pt x="52006" y="117824"/>
                  </a:lnTo>
                  <a:lnTo>
                    <a:pt x="0" y="70961"/>
                  </a:lnTo>
                  <a:lnTo>
                    <a:pt x="72771" y="62389"/>
                  </a:lnTo>
                  <a:lnTo>
                    <a:pt x="104013" y="0"/>
                  </a:lnTo>
                  <a:close/>
                </a:path>
              </a:pathLst>
            </a:custGeom>
            <a:grpFill/>
            <a:ln w="6350" cap="flat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9783F4D-E219-F02F-37B5-8EF860B53F4B}"/>
                </a:ext>
              </a:extLst>
            </p:cNvPr>
            <p:cNvSpPr/>
            <p:nvPr/>
          </p:nvSpPr>
          <p:spPr>
            <a:xfrm>
              <a:off x="1300734" y="5490527"/>
              <a:ext cx="249554" cy="256317"/>
            </a:xfrm>
            <a:custGeom>
              <a:avLst/>
              <a:gdLst>
                <a:gd name="connsiteX0" fmla="*/ 0 w 249554"/>
                <a:gd name="connsiteY0" fmla="*/ 9906 h 256317"/>
                <a:gd name="connsiteX1" fmla="*/ 0 w 249554"/>
                <a:gd name="connsiteY1" fmla="*/ 256318 h 256317"/>
                <a:gd name="connsiteX2" fmla="*/ 124778 w 249554"/>
                <a:gd name="connsiteY2" fmla="*/ 173165 h 256317"/>
                <a:gd name="connsiteX3" fmla="*/ 249555 w 249554"/>
                <a:gd name="connsiteY3" fmla="*/ 256318 h 256317"/>
                <a:gd name="connsiteX4" fmla="*/ 249555 w 249554"/>
                <a:gd name="connsiteY4" fmla="*/ 0 h 256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554" h="256317">
                  <a:moveTo>
                    <a:pt x="0" y="9906"/>
                  </a:moveTo>
                  <a:lnTo>
                    <a:pt x="0" y="256318"/>
                  </a:lnTo>
                  <a:lnTo>
                    <a:pt x="124778" y="173165"/>
                  </a:lnTo>
                  <a:lnTo>
                    <a:pt x="249555" y="256318"/>
                  </a:lnTo>
                  <a:lnTo>
                    <a:pt x="249555" y="0"/>
                  </a:lnTo>
                </a:path>
              </a:pathLst>
            </a:custGeom>
            <a:grpFill/>
            <a:ln w="6350" cap="rnd">
              <a:solidFill>
                <a:srgbClr val="00338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E5BA109-2EA9-897D-7AD0-12F422512DB4}"/>
                </a:ext>
              </a:extLst>
            </p:cNvPr>
            <p:cNvSpPr/>
            <p:nvPr/>
          </p:nvSpPr>
          <p:spPr>
            <a:xfrm>
              <a:off x="1232630" y="5161343"/>
              <a:ext cx="369760" cy="379094"/>
            </a:xfrm>
            <a:custGeom>
              <a:avLst/>
              <a:gdLst>
                <a:gd name="connsiteX0" fmla="*/ 369761 w 369760"/>
                <a:gd name="connsiteY0" fmla="*/ 248603 h 379094"/>
                <a:gd name="connsiteX1" fmla="*/ 189548 w 369760"/>
                <a:gd name="connsiteY1" fmla="*/ 379095 h 379094"/>
                <a:gd name="connsiteX2" fmla="*/ 0 w 369760"/>
                <a:gd name="connsiteY2" fmla="*/ 189548 h 379094"/>
                <a:gd name="connsiteX3" fmla="*/ 189643 w 369760"/>
                <a:gd name="connsiteY3" fmla="*/ 0 h 379094"/>
                <a:gd name="connsiteX4" fmla="*/ 227838 w 369760"/>
                <a:gd name="connsiteY4" fmla="*/ 3810 h 3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760" h="379094">
                  <a:moveTo>
                    <a:pt x="369761" y="248603"/>
                  </a:moveTo>
                  <a:cubicBezTo>
                    <a:pt x="344900" y="324326"/>
                    <a:pt x="273653" y="379095"/>
                    <a:pt x="189548" y="379095"/>
                  </a:cubicBezTo>
                  <a:cubicBezTo>
                    <a:pt x="84868" y="379095"/>
                    <a:pt x="0" y="294227"/>
                    <a:pt x="0" y="189548"/>
                  </a:cubicBezTo>
                  <a:cubicBezTo>
                    <a:pt x="0" y="84868"/>
                    <a:pt x="84963" y="0"/>
                    <a:pt x="189643" y="0"/>
                  </a:cubicBezTo>
                  <a:cubicBezTo>
                    <a:pt x="202692" y="0"/>
                    <a:pt x="215551" y="1333"/>
                    <a:pt x="227838" y="3810"/>
                  </a:cubicBezTo>
                </a:path>
              </a:pathLst>
            </a:custGeom>
            <a:grpFill/>
            <a:ln w="6350" cap="flat">
              <a:solidFill>
                <a:srgbClr val="00338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8" name="Graphic 593">
            <a:extLst>
              <a:ext uri="{FF2B5EF4-FFF2-40B4-BE49-F238E27FC236}">
                <a16:creationId xmlns:a16="http://schemas.microsoft.com/office/drawing/2014/main" id="{00BC8FD8-EF49-AA47-716F-F0F08F1554EC}"/>
              </a:ext>
            </a:extLst>
          </p:cNvPr>
          <p:cNvSpPr>
            <a:spLocks noChangeAspect="1"/>
          </p:cNvSpPr>
          <p:nvPr/>
        </p:nvSpPr>
        <p:spPr>
          <a:xfrm>
            <a:off x="9737682" y="3994294"/>
            <a:ext cx="382589" cy="447922"/>
          </a:xfrm>
          <a:custGeom>
            <a:avLst/>
            <a:gdLst>
              <a:gd name="connsiteX0" fmla="*/ 56490 w 515942"/>
              <a:gd name="connsiteY0" fmla="*/ 259568 h 604046"/>
              <a:gd name="connsiteX1" fmla="*/ 276232 w 515942"/>
              <a:gd name="connsiteY1" fmla="*/ 576750 h 604046"/>
              <a:gd name="connsiteX2" fmla="*/ 365862 w 515942"/>
              <a:gd name="connsiteY2" fmla="*/ 592371 h 604046"/>
              <a:gd name="connsiteX3" fmla="*/ 488258 w 515942"/>
              <a:gd name="connsiteY3" fmla="*/ 506265 h 604046"/>
              <a:gd name="connsiteX4" fmla="*/ 504451 w 515942"/>
              <a:gd name="connsiteY4" fmla="*/ 416063 h 604046"/>
              <a:gd name="connsiteX5" fmla="*/ 284042 w 515942"/>
              <a:gd name="connsiteY5" fmla="*/ 98881 h 604046"/>
              <a:gd name="connsiteX6" fmla="*/ 56490 w 515942"/>
              <a:gd name="connsiteY6" fmla="*/ 259568 h 604046"/>
              <a:gd name="connsiteX7" fmla="*/ 56490 w 515942"/>
              <a:gd name="connsiteY7" fmla="*/ 259568 h 604046"/>
              <a:gd name="connsiteX8" fmla="*/ 180791 w 515942"/>
              <a:gd name="connsiteY8" fmla="*/ 95833 h 604046"/>
              <a:gd name="connsiteX9" fmla="*/ 160503 w 515942"/>
              <a:gd name="connsiteY9" fmla="*/ 66972 h 604046"/>
              <a:gd name="connsiteX10" fmla="*/ 128213 w 515942"/>
              <a:gd name="connsiteY10" fmla="*/ 89832 h 604046"/>
              <a:gd name="connsiteX11" fmla="*/ 148502 w 515942"/>
              <a:gd name="connsiteY11" fmla="*/ 118693 h 604046"/>
              <a:gd name="connsiteX12" fmla="*/ 180791 w 515942"/>
              <a:gd name="connsiteY12" fmla="*/ 95833 h 604046"/>
              <a:gd name="connsiteX13" fmla="*/ 180791 w 515942"/>
              <a:gd name="connsiteY13" fmla="*/ 95833 h 604046"/>
              <a:gd name="connsiteX14" fmla="*/ 121070 w 515942"/>
              <a:gd name="connsiteY14" fmla="*/ 137933 h 604046"/>
              <a:gd name="connsiteX15" fmla="*/ 100781 w 515942"/>
              <a:gd name="connsiteY15" fmla="*/ 108406 h 604046"/>
              <a:gd name="connsiteX16" fmla="*/ 68492 w 515942"/>
              <a:gd name="connsiteY16" fmla="*/ 131266 h 604046"/>
              <a:gd name="connsiteX17" fmla="*/ 88780 w 515942"/>
              <a:gd name="connsiteY17" fmla="*/ 160793 h 604046"/>
              <a:gd name="connsiteX18" fmla="*/ 121070 w 515942"/>
              <a:gd name="connsiteY18" fmla="*/ 137933 h 604046"/>
              <a:gd name="connsiteX19" fmla="*/ 121070 w 515942"/>
              <a:gd name="connsiteY19" fmla="*/ 137933 h 604046"/>
              <a:gd name="connsiteX20" fmla="*/ 260801 w 515942"/>
              <a:gd name="connsiteY20" fmla="*/ 108406 h 604046"/>
              <a:gd name="connsiteX21" fmla="*/ 190888 w 515942"/>
              <a:gd name="connsiteY21" fmla="*/ 7917 h 604046"/>
              <a:gd name="connsiteX22" fmla="*/ 165170 w 515942"/>
              <a:gd name="connsiteY22" fmla="*/ 3059 h 604046"/>
              <a:gd name="connsiteX23" fmla="*/ 8103 w 515942"/>
              <a:gd name="connsiteY23" fmla="*/ 114502 h 604046"/>
              <a:gd name="connsiteX24" fmla="*/ 3341 w 515942"/>
              <a:gd name="connsiteY24" fmla="*/ 139743 h 604046"/>
              <a:gd name="connsiteX25" fmla="*/ 74969 w 515942"/>
              <a:gd name="connsiteY25" fmla="*/ 243280 h 604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15942" h="604046">
                <a:moveTo>
                  <a:pt x="56490" y="259568"/>
                </a:moveTo>
                <a:lnTo>
                  <a:pt x="276232" y="576750"/>
                </a:lnTo>
                <a:cubicBezTo>
                  <a:pt x="297187" y="605611"/>
                  <a:pt x="337097" y="612850"/>
                  <a:pt x="365862" y="592371"/>
                </a:cubicBezTo>
                <a:lnTo>
                  <a:pt x="488258" y="506265"/>
                </a:lnTo>
                <a:cubicBezTo>
                  <a:pt x="517595" y="485786"/>
                  <a:pt x="524644" y="445496"/>
                  <a:pt x="504451" y="416063"/>
                </a:cubicBezTo>
                <a:lnTo>
                  <a:pt x="284042" y="98881"/>
                </a:lnTo>
                <a:lnTo>
                  <a:pt x="56490" y="259568"/>
                </a:lnTo>
                <a:lnTo>
                  <a:pt x="56490" y="259568"/>
                </a:lnTo>
                <a:close/>
                <a:moveTo>
                  <a:pt x="180791" y="95833"/>
                </a:moveTo>
                <a:lnTo>
                  <a:pt x="160503" y="66972"/>
                </a:lnTo>
                <a:lnTo>
                  <a:pt x="128213" y="89832"/>
                </a:lnTo>
                <a:lnTo>
                  <a:pt x="148502" y="118693"/>
                </a:lnTo>
                <a:lnTo>
                  <a:pt x="180791" y="95833"/>
                </a:lnTo>
                <a:lnTo>
                  <a:pt x="180791" y="95833"/>
                </a:lnTo>
                <a:close/>
                <a:moveTo>
                  <a:pt x="121070" y="137933"/>
                </a:moveTo>
                <a:lnTo>
                  <a:pt x="100781" y="108406"/>
                </a:lnTo>
                <a:lnTo>
                  <a:pt x="68492" y="131266"/>
                </a:lnTo>
                <a:lnTo>
                  <a:pt x="88780" y="160793"/>
                </a:lnTo>
                <a:lnTo>
                  <a:pt x="121070" y="137933"/>
                </a:lnTo>
                <a:lnTo>
                  <a:pt x="121070" y="137933"/>
                </a:lnTo>
                <a:close/>
                <a:moveTo>
                  <a:pt x="260801" y="108406"/>
                </a:moveTo>
                <a:lnTo>
                  <a:pt x="190888" y="7917"/>
                </a:lnTo>
                <a:cubicBezTo>
                  <a:pt x="184887" y="-465"/>
                  <a:pt x="173552" y="-2370"/>
                  <a:pt x="165170" y="3059"/>
                </a:cubicBezTo>
                <a:lnTo>
                  <a:pt x="8103" y="114502"/>
                </a:lnTo>
                <a:cubicBezTo>
                  <a:pt x="-279" y="120407"/>
                  <a:pt x="-2660" y="131932"/>
                  <a:pt x="3341" y="139743"/>
                </a:cubicBezTo>
                <a:lnTo>
                  <a:pt x="74969" y="243280"/>
                </a:lnTo>
              </a:path>
            </a:pathLst>
          </a:custGeom>
          <a:noFill/>
          <a:ln w="6350" cap="flat">
            <a:solidFill>
              <a:srgbClr val="253D86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37571D1-3FA2-F3FD-0AC1-BFE6AD306F8F}"/>
              </a:ext>
            </a:extLst>
          </p:cNvPr>
          <p:cNvGrpSpPr/>
          <p:nvPr/>
        </p:nvGrpSpPr>
        <p:grpSpPr>
          <a:xfrm>
            <a:off x="9766970" y="3243357"/>
            <a:ext cx="324012" cy="221402"/>
            <a:chOff x="11498006" y="2934724"/>
            <a:chExt cx="271310" cy="185390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8FE87A08-6E63-450B-3FFB-441E08C49A8C}"/>
                </a:ext>
              </a:extLst>
            </p:cNvPr>
            <p:cNvSpPr/>
            <p:nvPr/>
          </p:nvSpPr>
          <p:spPr>
            <a:xfrm>
              <a:off x="11498006" y="2934724"/>
              <a:ext cx="271310" cy="59835"/>
            </a:xfrm>
            <a:custGeom>
              <a:avLst/>
              <a:gdLst>
                <a:gd name="connsiteX0" fmla="*/ 0 w 115062"/>
                <a:gd name="connsiteY0" fmla="*/ 25377 h 25376"/>
                <a:gd name="connsiteX1" fmla="*/ 86201 w 115062"/>
                <a:gd name="connsiteY1" fmla="*/ 4803 h 25376"/>
                <a:gd name="connsiteX2" fmla="*/ 115062 w 115062"/>
                <a:gd name="connsiteY2" fmla="*/ 25377 h 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62" h="25376">
                  <a:moveTo>
                    <a:pt x="0" y="25377"/>
                  </a:moveTo>
                  <a:cubicBezTo>
                    <a:pt x="15811" y="2707"/>
                    <a:pt x="54483" y="-6437"/>
                    <a:pt x="86201" y="4803"/>
                  </a:cubicBezTo>
                  <a:cubicBezTo>
                    <a:pt x="98679" y="9280"/>
                    <a:pt x="108776" y="16423"/>
                    <a:pt x="115062" y="25377"/>
                  </a:cubicBez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A6234294-4A47-0A4E-B183-578EE18D45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77496" y="3007783"/>
              <a:ext cx="112331" cy="112331"/>
            </a:xfrm>
            <a:prstGeom prst="ellipse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5FCBA9DA-9DDE-1772-FEFA-0CBC92AB256F}"/>
              </a:ext>
            </a:extLst>
          </p:cNvPr>
          <p:cNvSpPr txBox="1"/>
          <p:nvPr/>
        </p:nvSpPr>
        <p:spPr>
          <a:xfrm>
            <a:off x="9156261" y="2478972"/>
            <a:ext cx="1545431" cy="53463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dirty="0"/>
              <a:t>Authenticator</a:t>
            </a:r>
            <a:br>
              <a:rPr lang="en-US" sz="1600" dirty="0"/>
            </a:br>
            <a:r>
              <a:rPr lang="en-US" sz="1600" dirty="0"/>
              <a:t>(Phone Sign-in)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DC72F7E9-A62D-31C8-B6F5-E188BDFDF994}"/>
              </a:ext>
            </a:extLst>
          </p:cNvPr>
          <p:cNvGrpSpPr>
            <a:grpSpLocks noChangeAspect="1"/>
          </p:cNvGrpSpPr>
          <p:nvPr/>
        </p:nvGrpSpPr>
        <p:grpSpPr>
          <a:xfrm>
            <a:off x="9763035" y="2038117"/>
            <a:ext cx="331882" cy="373587"/>
            <a:chOff x="3835245" y="5243937"/>
            <a:chExt cx="541548" cy="609600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07B12AB1-4F00-6134-C3A0-BECC198B8B06}"/>
                </a:ext>
              </a:extLst>
            </p:cNvPr>
            <p:cNvSpPr/>
            <p:nvPr/>
          </p:nvSpPr>
          <p:spPr>
            <a:xfrm>
              <a:off x="4049757" y="5437294"/>
              <a:ext cx="112395" cy="77152"/>
            </a:xfrm>
            <a:custGeom>
              <a:avLst/>
              <a:gdLst>
                <a:gd name="connsiteX0" fmla="*/ 112395 w 112395"/>
                <a:gd name="connsiteY0" fmla="*/ 77153 h 77152"/>
                <a:gd name="connsiteX1" fmla="*/ 112395 w 112395"/>
                <a:gd name="connsiteY1" fmla="*/ 56198 h 77152"/>
                <a:gd name="connsiteX2" fmla="*/ 56197 w 112395"/>
                <a:gd name="connsiteY2" fmla="*/ 0 h 77152"/>
                <a:gd name="connsiteX3" fmla="*/ 56197 w 112395"/>
                <a:gd name="connsiteY3" fmla="*/ 0 h 77152"/>
                <a:gd name="connsiteX4" fmla="*/ 0 w 112395"/>
                <a:gd name="connsiteY4" fmla="*/ 56198 h 77152"/>
                <a:gd name="connsiteX5" fmla="*/ 0 w 112395"/>
                <a:gd name="connsiteY5" fmla="*/ 77153 h 7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395" h="77152">
                  <a:moveTo>
                    <a:pt x="112395" y="77153"/>
                  </a:moveTo>
                  <a:lnTo>
                    <a:pt x="112395" y="56198"/>
                  </a:lnTo>
                  <a:cubicBezTo>
                    <a:pt x="112395" y="25718"/>
                    <a:pt x="87630" y="0"/>
                    <a:pt x="56197" y="0"/>
                  </a:cubicBezTo>
                  <a:lnTo>
                    <a:pt x="56197" y="0"/>
                  </a:lnTo>
                  <a:cubicBezTo>
                    <a:pt x="25717" y="0"/>
                    <a:pt x="0" y="24765"/>
                    <a:pt x="0" y="56198"/>
                  </a:cubicBezTo>
                  <a:lnTo>
                    <a:pt x="0" y="77153"/>
                  </a:lnTo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49DA24DA-0E90-FFB3-A294-71EF4BF34867}"/>
                </a:ext>
              </a:extLst>
            </p:cNvPr>
            <p:cNvSpPr/>
            <p:nvPr/>
          </p:nvSpPr>
          <p:spPr>
            <a:xfrm>
              <a:off x="3835245" y="5243937"/>
              <a:ext cx="541548" cy="609600"/>
            </a:xfrm>
            <a:custGeom>
              <a:avLst/>
              <a:gdLst>
                <a:gd name="connsiteX0" fmla="*/ 538362 w 541548"/>
                <a:gd name="connsiteY0" fmla="*/ 76200 h 609600"/>
                <a:gd name="connsiteX1" fmla="*/ 270710 w 541548"/>
                <a:gd name="connsiteY1" fmla="*/ 0 h 609600"/>
                <a:gd name="connsiteX2" fmla="*/ 3057 w 541548"/>
                <a:gd name="connsiteY2" fmla="*/ 76200 h 609600"/>
                <a:gd name="connsiteX3" fmla="*/ 270710 w 541548"/>
                <a:gd name="connsiteY3" fmla="*/ 609600 h 609600"/>
                <a:gd name="connsiteX4" fmla="*/ 538362 w 541548"/>
                <a:gd name="connsiteY4" fmla="*/ 76200 h 609600"/>
                <a:gd name="connsiteX5" fmla="*/ 538362 w 541548"/>
                <a:gd name="connsiteY5" fmla="*/ 76200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548" h="609600">
                  <a:moveTo>
                    <a:pt x="538362" y="76200"/>
                  </a:moveTo>
                  <a:cubicBezTo>
                    <a:pt x="372627" y="95250"/>
                    <a:pt x="270710" y="0"/>
                    <a:pt x="270710" y="0"/>
                  </a:cubicBezTo>
                  <a:cubicBezTo>
                    <a:pt x="270710" y="0"/>
                    <a:pt x="167840" y="95250"/>
                    <a:pt x="3057" y="76200"/>
                  </a:cubicBezTo>
                  <a:cubicBezTo>
                    <a:pt x="3057" y="76200"/>
                    <a:pt x="-48378" y="514350"/>
                    <a:pt x="270710" y="609600"/>
                  </a:cubicBezTo>
                  <a:cubicBezTo>
                    <a:pt x="590750" y="515303"/>
                    <a:pt x="538362" y="76200"/>
                    <a:pt x="538362" y="76200"/>
                  </a:cubicBezTo>
                  <a:lnTo>
                    <a:pt x="538362" y="76200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7166E42-3BC5-3E45-AF0E-57BFBDED8359}"/>
                </a:ext>
              </a:extLst>
            </p:cNvPr>
            <p:cNvSpPr/>
            <p:nvPr/>
          </p:nvSpPr>
          <p:spPr>
            <a:xfrm>
              <a:off x="4012610" y="5517304"/>
              <a:ext cx="187642" cy="164782"/>
            </a:xfrm>
            <a:custGeom>
              <a:avLst/>
              <a:gdLst>
                <a:gd name="connsiteX0" fmla="*/ 0 w 187642"/>
                <a:gd name="connsiteY0" fmla="*/ 0 h 164782"/>
                <a:gd name="connsiteX1" fmla="*/ 187643 w 187642"/>
                <a:gd name="connsiteY1" fmla="*/ 0 h 164782"/>
                <a:gd name="connsiteX2" fmla="*/ 187643 w 187642"/>
                <a:gd name="connsiteY2" fmla="*/ 164783 h 164782"/>
                <a:gd name="connsiteX3" fmla="*/ 0 w 187642"/>
                <a:gd name="connsiteY3" fmla="*/ 164783 h 16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642" h="164782">
                  <a:moveTo>
                    <a:pt x="0" y="0"/>
                  </a:moveTo>
                  <a:lnTo>
                    <a:pt x="187643" y="0"/>
                  </a:lnTo>
                  <a:lnTo>
                    <a:pt x="187643" y="164783"/>
                  </a:lnTo>
                  <a:lnTo>
                    <a:pt x="0" y="164783"/>
                  </a:lnTo>
                  <a:close/>
                </a:path>
              </a:pathLst>
            </a:custGeom>
            <a:noFill/>
            <a:ln w="6350" cap="flat">
              <a:solidFill>
                <a:srgbClr val="253D8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69179477-1E99-D84F-932B-50B03D5EBF3F}"/>
              </a:ext>
            </a:extLst>
          </p:cNvPr>
          <p:cNvSpPr txBox="1"/>
          <p:nvPr/>
        </p:nvSpPr>
        <p:spPr>
          <a:xfrm>
            <a:off x="9250239" y="3521788"/>
            <a:ext cx="1357473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dirty="0"/>
              <a:t>Window Hello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82F1BAA-9BF2-4C3C-37F2-C5E8C53A6A16}"/>
              </a:ext>
            </a:extLst>
          </p:cNvPr>
          <p:cNvSpPr txBox="1"/>
          <p:nvPr/>
        </p:nvSpPr>
        <p:spPr>
          <a:xfrm>
            <a:off x="8981355" y="4463056"/>
            <a:ext cx="1895242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dirty="0"/>
              <a:t>FIDO2 security key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3CBDD36-3C14-3CB9-C36E-5F28B17D587E}"/>
              </a:ext>
            </a:extLst>
          </p:cNvPr>
          <p:cNvSpPr txBox="1"/>
          <p:nvPr/>
        </p:nvSpPr>
        <p:spPr>
          <a:xfrm>
            <a:off x="9321595" y="5515994"/>
            <a:ext cx="1214764" cy="26731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US" sz="1600" b="1" dirty="0"/>
              <a:t>Certificates</a:t>
            </a:r>
          </a:p>
        </p:txBody>
      </p:sp>
    </p:spTree>
    <p:extLst>
      <p:ext uri="{BB962C8B-B14F-4D97-AF65-F5344CB8AC3E}">
        <p14:creationId xmlns:p14="http://schemas.microsoft.com/office/powerpoint/2010/main" val="1032508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USED" val="KPMGFONT"/>
  <p:tag name="CREATEDBY" val="Global PowerPoint Toolbar"/>
  <p:tag name="TOOLBARVERSION" val="5.30a"/>
  <p:tag name="TYPE" val="ScreenWide"/>
  <p:tag name="KEYWORD" val="SCREENWIDE"/>
  <p:tag name="TEMPLATEVERSION" val="17/07/2017 11:56: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 Widescreen [16:9] Feb 2022">
  <a:themeElements>
    <a:clrScheme name="Custom Option">
      <a:dk1>
        <a:srgbClr val="000000"/>
      </a:dk1>
      <a:lt1>
        <a:sysClr val="window" lastClr="FFFFFF"/>
      </a:lt1>
      <a:dk2>
        <a:srgbClr val="00338D"/>
      </a:dk2>
      <a:lt2>
        <a:srgbClr val="ACEAFF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1E49E2"/>
      </a:hlink>
      <a:folHlink>
        <a:srgbClr val="098E80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Cobalt">
      <a:srgbClr val="1E49E2"/>
    </a:custClr>
    <a:custClr name="Pacific Blue">
      <a:srgbClr val="00B8F5"/>
    </a:custClr>
    <a:custClr name="Purple">
      <a:srgbClr val="7213EA"/>
    </a:custClr>
    <a:custClr name="Dark Blue">
      <a:srgbClr val="0C233C"/>
    </a:custClr>
    <a:custClr name="Light Blue">
      <a:srgbClr val="ACEAFF"/>
    </a:custClr>
    <a:custClr name="Pink">
      <a:srgbClr val="FD349C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76D2FF"/>
    </a:custClr>
    <a:custClr name="Dark Purple">
      <a:srgbClr val="510DBC"/>
    </a:custClr>
    <a:custClr name="Light Purple">
      <a:srgbClr val="B497FF"/>
    </a:custClr>
    <a:custClr name="Dark Pink">
      <a:srgbClr val="AB0D82"/>
    </a:custClr>
    <a:custClr name="Light Pink">
      <a:srgbClr val="FFA3DA"/>
    </a:custClr>
    <a:custClr name="Dark Green">
      <a:srgbClr val="098E7E"/>
    </a:custClr>
    <a:custClr name="Green">
      <a:srgbClr val="00C0AE"/>
    </a:custClr>
    <a:custClr name="Light Green">
      <a:srgbClr val="63EBDA"/>
    </a:custClr>
    <a:custClr name="Blank">
      <a:srgbClr val="FFFFFF"/>
    </a:custClr>
    <a:custClr name="Blank">
      <a:srgbClr val="FFFFFF"/>
    </a:custClr>
    <a:custClr name="Gray 1">
      <a:srgbClr val="333333"/>
    </a:custClr>
    <a:custClr name="Gray 2">
      <a:srgbClr val="666666"/>
    </a:custClr>
    <a:custClr name="Gray 3">
      <a:srgbClr val="989898"/>
    </a:custClr>
    <a:custClr name="Gray 4">
      <a:srgbClr val="B2B2B2"/>
    </a:custClr>
    <a:custClr name="Gray 5">
      <a:srgbClr val="E5E5E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1_KPMG Widescreen Standard Template.potx" id="{91D48D0A-CE4D-4E81-B6D9-24A302936E8C}" vid="{B098B618-9C11-4D2E-83D4-6C60D23ED0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Widescreen Standard Template</Template>
  <TotalTime>162</TotalTime>
  <Words>469</Words>
  <Application>Microsoft Office PowerPoint</Application>
  <PresentationFormat>Widescreen</PresentationFormat>
  <Paragraphs>7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KPMG Bold</vt:lpstr>
      <vt:lpstr>Arial</vt:lpstr>
      <vt:lpstr>KPMG Widescreen [16:9] Feb 2022</vt:lpstr>
      <vt:lpstr>think-cell Slide</vt:lpstr>
      <vt:lpstr>How single sign-on with KCD works</vt:lpstr>
      <vt:lpstr>How single sign-on with KCD works (Steps explanation)</vt:lpstr>
      <vt:lpstr>Hybrid identity required Ports and Protocols</vt:lpstr>
      <vt:lpstr>Plan conditional access policies</vt:lpstr>
      <vt:lpstr>Choose authentication methods for MF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single sign-on with KCD works</dc:title>
  <dc:creator>Anthony Irudhayaraj</dc:creator>
  <cp:lastModifiedBy>Gupta, Vineet</cp:lastModifiedBy>
  <cp:revision>66</cp:revision>
  <dcterms:created xsi:type="dcterms:W3CDTF">2023-12-12T20:03:31Z</dcterms:created>
  <dcterms:modified xsi:type="dcterms:W3CDTF">2024-01-12T19:27:49Z</dcterms:modified>
  <cp:category>KPMG Public</cp:category>
</cp:coreProperties>
</file>